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5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6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  <p:sldMasterId id="2147483666" r:id="rId5"/>
    <p:sldMasterId id="2147483670" r:id="rId6"/>
    <p:sldMasterId id="2147483680" r:id="rId7"/>
    <p:sldMasterId id="2147483711" r:id="rId8"/>
    <p:sldMasterId id="2147483689" r:id="rId9"/>
    <p:sldMasterId id="2147483700" r:id="rId10"/>
  </p:sldMasterIdLst>
  <p:notesMasterIdLst>
    <p:notesMasterId r:id="rId21"/>
  </p:notesMasterIdLst>
  <p:sldIdLst>
    <p:sldId id="259" r:id="rId11"/>
    <p:sldId id="3358" r:id="rId12"/>
    <p:sldId id="3363" r:id="rId13"/>
    <p:sldId id="3364" r:id="rId14"/>
    <p:sldId id="3365" r:id="rId15"/>
    <p:sldId id="3367" r:id="rId16"/>
    <p:sldId id="3366" r:id="rId17"/>
    <p:sldId id="3370" r:id="rId18"/>
    <p:sldId id="3368" r:id="rId19"/>
    <p:sldId id="3369" r:id="rId20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E90C7FD-850F-421C-BE1D-AA3A63DE7C89}">
          <p14:sldIdLst>
            <p14:sldId id="259"/>
            <p14:sldId id="3358"/>
            <p14:sldId id="3363"/>
            <p14:sldId id="3364"/>
            <p14:sldId id="3365"/>
            <p14:sldId id="3367"/>
            <p14:sldId id="3366"/>
            <p14:sldId id="3370"/>
            <p14:sldId id="3368"/>
            <p14:sldId id="336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0C1D3E"/>
    <a:srgbClr val="97C62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27"/>
    <p:restoredTop sz="94695"/>
  </p:normalViewPr>
  <p:slideViewPr>
    <p:cSldViewPr snapToGrid="0">
      <p:cViewPr varScale="1">
        <p:scale>
          <a:sx n="120" d="100"/>
          <a:sy n="120" d="100"/>
        </p:scale>
        <p:origin x="192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9B96F4-F2F0-4007-983B-92D8CA39D011}" type="datetimeFigureOut">
              <a:rPr lang="en-IE" smtClean="0"/>
              <a:t>23/04/2024</a:t>
            </a:fld>
            <a:endParaRPr lang="en-I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I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1456B9-2C0B-445D-A12D-180C38994730}" type="slidenum">
              <a:rPr lang="en-IE" smtClean="0"/>
              <a:t>‹Nr.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9833450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4.svg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sv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svg"/><Relationship Id="rId4" Type="http://schemas.openxmlformats.org/officeDocument/2006/relationships/hyperlink" Target="https://eur06.safelinks.protection.outlook.com/?url=http%3A%2F%2Fwww.rail-research.europa.eu%2F&amp;data=05%7C01%7C%7C6a04a5d6bd9d4e4fb10808da29def965%7Cbcfe75f290a54d168c623261618820aa%7C0%7C0%7C637868334888549089%7CUnknown%7CTWFpbGZsb3d8eyJWIjoiMC4wLjAwMDAiLCJQIjoiV2luMzIiLCJBTiI6Ik1haWwiLCJXVCI6Mn0%3D%7C3000%7C%7C%7C&amp;sdata=wiFzMOdCilMalNMXLNwQ6ooBa6A7jONQnCtzOGaZK8g%3D&amp;reserved=0" TargetMode="External"/><Relationship Id="rId9" Type="http://schemas.openxmlformats.org/officeDocument/2006/relationships/image" Target="../media/image9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6.png"/><Relationship Id="rId7" Type="http://schemas.openxmlformats.org/officeDocument/2006/relationships/image" Target="../media/image29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hyperlink" Target="https://rail-research.europa.eu/" TargetMode="Externa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tiff"/><Relationship Id="rId1" Type="http://schemas.openxmlformats.org/officeDocument/2006/relationships/slideMaster" Target="../slideMasters/slideMaster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17.svg"/><Relationship Id="rId7" Type="http://schemas.openxmlformats.org/officeDocument/2006/relationships/image" Target="../media/image7.png"/><Relationship Id="rId12" Type="http://schemas.openxmlformats.org/officeDocument/2006/relationships/image" Target="../media/image12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sv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0" Type="http://schemas.openxmlformats.org/officeDocument/2006/relationships/image" Target="../media/image10.svg"/><Relationship Id="rId4" Type="http://schemas.openxmlformats.org/officeDocument/2006/relationships/hyperlink" Target="https://eur06.safelinks.protection.outlook.com/?url=http%3A%2F%2Fwww.rail-research.europa.eu%2F&amp;data=05%7C01%7C%7C6a04a5d6bd9d4e4fb10808da29def965%7Cbcfe75f290a54d168c623261618820aa%7C0%7C0%7C637868334888549089%7CUnknown%7CTWFpbGZsb3d8eyJWIjoiMC4wLjAwMDAiLCJQIjoiV2luMzIiLCJBTiI6Ik1haWwiLCJXVCI6Mn0%3D%7C3000%7C%7C%7C&amp;sdata=wiFzMOdCilMalNMXLNwQ6ooBa6A7jONQnCtzOGaZK8g%3D&amp;reserved=0" TargetMode="External"/><Relationship Id="rId9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C04BE12B-222A-E03C-0F02-EBCC53644F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53532" y="2012951"/>
            <a:ext cx="6484936" cy="49010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1">
                <a:solidFill>
                  <a:srgbClr val="97C62E"/>
                </a:solidFill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fr-FR"/>
              <a:t>SUR TITRE</a:t>
            </a:r>
            <a:endParaRPr lang="fr-BE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BCB0E257-B783-CD59-EBC7-3500459186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53532" y="2669166"/>
            <a:ext cx="6484937" cy="105308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Graphique 4">
            <a:extLst>
              <a:ext uri="{FF2B5EF4-FFF2-40B4-BE49-F238E27FC236}">
                <a16:creationId xmlns:a16="http://schemas.microsoft.com/office/drawing/2014/main" id="{609E2CDF-E1F6-D747-961F-776563001E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472448" y="628869"/>
            <a:ext cx="1247103" cy="942109"/>
          </a:xfrm>
          <a:prstGeom prst="rect">
            <a:avLst/>
          </a:prstGeom>
        </p:spPr>
      </p:pic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C592C4D3-9644-BF76-5002-32CAF20140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53531" y="4008438"/>
            <a:ext cx="6484937" cy="1625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/>
            </a:lvl1pPr>
            <a:lvl2pPr marL="45720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32639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C04BE12B-222A-E03C-0F02-EBCC53644F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3495" y="1589305"/>
            <a:ext cx="6484936" cy="23091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1">
                <a:solidFill>
                  <a:srgbClr val="97C62E"/>
                </a:solidFill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fr-FR"/>
              <a:t>SUR TITRE</a:t>
            </a:r>
            <a:endParaRPr lang="fr-BE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BCB0E257-B783-CD59-EBC7-3500459186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3495" y="1962407"/>
            <a:ext cx="6484937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200" b="1"/>
            </a:lvl1pPr>
          </a:lstStyle>
          <a:p>
            <a:pPr algn="l"/>
            <a:r>
              <a:rPr lang="fr-FR" sz="3200" b="1" err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itle</a:t>
            </a:r>
            <a:r>
              <a:rPr lang="fr-FR" sz="3200" b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3200" b="1" err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xt</a:t>
            </a:r>
            <a:r>
              <a:rPr lang="fr-FR" sz="3200" b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lock.</a:t>
            </a:r>
            <a:endParaRPr lang="fr-BE" sz="3200">
              <a:solidFill>
                <a:srgbClr val="0C1D3E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C592C4D3-9644-BF76-5002-32CAF20140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3495" y="3009906"/>
            <a:ext cx="2919196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1"/>
            </a:lvl1pPr>
            <a:lvl2pPr marL="457200" indent="0">
              <a:buNone/>
              <a:defRPr/>
            </a:lvl2pPr>
          </a:lstStyle>
          <a:p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Consectetuer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dipiscing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lit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commodo.</a:t>
            </a:r>
            <a:endParaRPr lang="fr-FR"/>
          </a:p>
        </p:txBody>
      </p:sp>
      <p:sp>
        <p:nvSpPr>
          <p:cNvPr id="12" name="Espace réservé du texte 17">
            <a:extLst>
              <a:ext uri="{FF2B5EF4-FFF2-40B4-BE49-F238E27FC236}">
                <a16:creationId xmlns:a16="http://schemas.microsoft.com/office/drawing/2014/main" id="{10492186-6315-87FA-9F38-94B329B74C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23495" y="3838756"/>
            <a:ext cx="2919196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/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exte 17">
            <a:extLst>
              <a:ext uri="{FF2B5EF4-FFF2-40B4-BE49-F238E27FC236}">
                <a16:creationId xmlns:a16="http://schemas.microsoft.com/office/drawing/2014/main" id="{D87956F5-3286-C8C6-2642-D5B2ADDDDB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23495" y="4861710"/>
            <a:ext cx="2919196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1"/>
            </a:lvl1pPr>
            <a:lvl2pPr marL="457200" indent="0">
              <a:buNone/>
              <a:defRPr/>
            </a:lvl2pPr>
          </a:lstStyle>
          <a:p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Consectetuer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dipiscing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lit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commodo.</a:t>
            </a:r>
            <a:endParaRPr lang="fr-FR"/>
          </a:p>
        </p:txBody>
      </p:sp>
      <p:sp>
        <p:nvSpPr>
          <p:cNvPr id="15" name="Espace réservé du texte 17">
            <a:extLst>
              <a:ext uri="{FF2B5EF4-FFF2-40B4-BE49-F238E27FC236}">
                <a16:creationId xmlns:a16="http://schemas.microsoft.com/office/drawing/2014/main" id="{EA283651-324B-BCCC-227D-AEB3205E62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23495" y="5690560"/>
            <a:ext cx="2919196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/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7" name="Espace réservé du texte 17">
            <a:extLst>
              <a:ext uri="{FF2B5EF4-FFF2-40B4-BE49-F238E27FC236}">
                <a16:creationId xmlns:a16="http://schemas.microsoft.com/office/drawing/2014/main" id="{CC013358-E15B-F227-105A-B73CDD43AB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89235" y="3009906"/>
            <a:ext cx="2919196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1"/>
            </a:lvl1pPr>
            <a:lvl2pPr marL="457200" indent="0">
              <a:buNone/>
              <a:defRPr/>
            </a:lvl2pPr>
          </a:lstStyle>
          <a:p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Consectetuer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dipiscing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lit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commodo.</a:t>
            </a:r>
            <a:endParaRPr lang="fr-FR"/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10984A0C-16F8-ADBC-5AED-8B634AE01D2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89235" y="3838756"/>
            <a:ext cx="2919196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/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9" name="Espace réservé du texte 17">
            <a:extLst>
              <a:ext uri="{FF2B5EF4-FFF2-40B4-BE49-F238E27FC236}">
                <a16:creationId xmlns:a16="http://schemas.microsoft.com/office/drawing/2014/main" id="{603CCE66-2B4E-DCBB-19AC-867E684C0BC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89235" y="4861710"/>
            <a:ext cx="2919196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1"/>
            </a:lvl1pPr>
            <a:lvl2pPr marL="457200" indent="0">
              <a:buNone/>
              <a:defRPr/>
            </a:lvl2pPr>
          </a:lstStyle>
          <a:p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Consectetuer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dipiscing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lit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commodo.</a:t>
            </a:r>
            <a:endParaRPr lang="fr-FR"/>
          </a:p>
        </p:txBody>
      </p:sp>
      <p:sp>
        <p:nvSpPr>
          <p:cNvPr id="20" name="Espace réservé du texte 17">
            <a:extLst>
              <a:ext uri="{FF2B5EF4-FFF2-40B4-BE49-F238E27FC236}">
                <a16:creationId xmlns:a16="http://schemas.microsoft.com/office/drawing/2014/main" id="{81753861-98F6-9480-A81A-A82D009885E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89235" y="5690560"/>
            <a:ext cx="2919196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/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1" name="Espace réservé du texte 17">
            <a:extLst>
              <a:ext uri="{FF2B5EF4-FFF2-40B4-BE49-F238E27FC236}">
                <a16:creationId xmlns:a16="http://schemas.microsoft.com/office/drawing/2014/main" id="{37F394D4-DCE1-5651-035D-F184ACA4C46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54975" y="3009906"/>
            <a:ext cx="2919196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1"/>
            </a:lvl1pPr>
            <a:lvl2pPr marL="457200" indent="0">
              <a:buNone/>
              <a:defRPr/>
            </a:lvl2pPr>
          </a:lstStyle>
          <a:p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Consectetuer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dipiscing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lit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commodo.</a:t>
            </a:r>
            <a:endParaRPr lang="fr-FR"/>
          </a:p>
        </p:txBody>
      </p:sp>
      <p:sp>
        <p:nvSpPr>
          <p:cNvPr id="22" name="Espace réservé du texte 17">
            <a:extLst>
              <a:ext uri="{FF2B5EF4-FFF2-40B4-BE49-F238E27FC236}">
                <a16:creationId xmlns:a16="http://schemas.microsoft.com/office/drawing/2014/main" id="{7E3E1264-B91A-BBD9-8382-CFD9867209B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654975" y="3838756"/>
            <a:ext cx="2919196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/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Espace réservé du texte 17">
            <a:extLst>
              <a:ext uri="{FF2B5EF4-FFF2-40B4-BE49-F238E27FC236}">
                <a16:creationId xmlns:a16="http://schemas.microsoft.com/office/drawing/2014/main" id="{C0C70F9F-94F6-83D3-7EBD-239F9B48A7E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654975" y="4861710"/>
            <a:ext cx="2919196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1"/>
            </a:lvl1pPr>
            <a:lvl2pPr marL="457200" indent="0">
              <a:buNone/>
              <a:defRPr/>
            </a:lvl2pPr>
          </a:lstStyle>
          <a:p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Consectetuer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dipiscing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lit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commodo.</a:t>
            </a:r>
            <a:endParaRPr lang="fr-FR"/>
          </a:p>
        </p:txBody>
      </p:sp>
      <p:sp>
        <p:nvSpPr>
          <p:cNvPr id="24" name="Espace réservé du texte 17">
            <a:extLst>
              <a:ext uri="{FF2B5EF4-FFF2-40B4-BE49-F238E27FC236}">
                <a16:creationId xmlns:a16="http://schemas.microsoft.com/office/drawing/2014/main" id="{BC30AF50-52B5-F9CB-13EA-B7CC320E362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54975" y="5690560"/>
            <a:ext cx="2919196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/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1756478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C04BE12B-222A-E03C-0F02-EBCC53644F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3495" y="1589305"/>
            <a:ext cx="5576045" cy="23091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1">
                <a:solidFill>
                  <a:srgbClr val="97C62E"/>
                </a:solidFill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fr-FR"/>
              <a:t>SUR TITRE</a:t>
            </a:r>
            <a:endParaRPr lang="fr-BE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BCB0E257-B783-CD59-EBC7-3500459186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3495" y="1962407"/>
            <a:ext cx="5576045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200" b="1"/>
            </a:lvl1pPr>
          </a:lstStyle>
          <a:p>
            <a:pPr algn="l"/>
            <a:r>
              <a:rPr lang="fr-FR" sz="3200" b="1" err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itle</a:t>
            </a:r>
            <a:r>
              <a:rPr lang="fr-FR" sz="3200" b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3200" b="1" err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xt</a:t>
            </a:r>
            <a:r>
              <a:rPr lang="fr-FR" sz="3200" b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lock.</a:t>
            </a:r>
            <a:endParaRPr lang="fr-BE" sz="3200">
              <a:solidFill>
                <a:srgbClr val="0C1D3E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C592C4D3-9644-BF76-5002-32CAF20140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23495" y="3009906"/>
            <a:ext cx="2470535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1"/>
            </a:lvl1pPr>
            <a:lvl2pPr marL="457200" indent="0">
              <a:buNone/>
              <a:defRPr/>
            </a:lvl2pPr>
          </a:lstStyle>
          <a:p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Consectetuer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lit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commodo.</a:t>
            </a:r>
            <a:endParaRPr lang="fr-FR"/>
          </a:p>
        </p:txBody>
      </p:sp>
      <p:sp>
        <p:nvSpPr>
          <p:cNvPr id="12" name="Espace réservé du texte 17">
            <a:extLst>
              <a:ext uri="{FF2B5EF4-FFF2-40B4-BE49-F238E27FC236}">
                <a16:creationId xmlns:a16="http://schemas.microsoft.com/office/drawing/2014/main" id="{10492186-6315-87FA-9F38-94B329B74C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23495" y="3838756"/>
            <a:ext cx="2470535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/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3" name="Espace réservé du texte 17">
            <a:extLst>
              <a:ext uri="{FF2B5EF4-FFF2-40B4-BE49-F238E27FC236}">
                <a16:creationId xmlns:a16="http://schemas.microsoft.com/office/drawing/2014/main" id="{D87956F5-3286-C8C6-2642-D5B2ADDDDB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23495" y="4861710"/>
            <a:ext cx="2470535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1"/>
            </a:lvl1pPr>
            <a:lvl2pPr marL="457200" indent="0">
              <a:buNone/>
              <a:defRPr/>
            </a:lvl2pPr>
          </a:lstStyle>
          <a:p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Consectetuer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lit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commodo.</a:t>
            </a:r>
            <a:endParaRPr lang="fr-FR"/>
          </a:p>
        </p:txBody>
      </p:sp>
      <p:sp>
        <p:nvSpPr>
          <p:cNvPr id="15" name="Espace réservé du texte 17">
            <a:extLst>
              <a:ext uri="{FF2B5EF4-FFF2-40B4-BE49-F238E27FC236}">
                <a16:creationId xmlns:a16="http://schemas.microsoft.com/office/drawing/2014/main" id="{EA283651-324B-BCCC-227D-AEB3205E62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23495" y="5690560"/>
            <a:ext cx="2470535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/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6" name="Espace réservé du texte 17">
            <a:extLst>
              <a:ext uri="{FF2B5EF4-FFF2-40B4-BE49-F238E27FC236}">
                <a16:creationId xmlns:a16="http://schemas.microsoft.com/office/drawing/2014/main" id="{70B91DE2-BA8C-E0BD-0143-6198C9D882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52361" y="3009906"/>
            <a:ext cx="2470535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1"/>
            </a:lvl1pPr>
            <a:lvl2pPr marL="457200" indent="0">
              <a:buNone/>
              <a:defRPr/>
            </a:lvl2pPr>
          </a:lstStyle>
          <a:p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Consectetuer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lit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commodo.</a:t>
            </a:r>
            <a:endParaRPr lang="fr-FR"/>
          </a:p>
        </p:txBody>
      </p:sp>
      <p:sp>
        <p:nvSpPr>
          <p:cNvPr id="27" name="Espace réservé du texte 17">
            <a:extLst>
              <a:ext uri="{FF2B5EF4-FFF2-40B4-BE49-F238E27FC236}">
                <a16:creationId xmlns:a16="http://schemas.microsoft.com/office/drawing/2014/main" id="{68490D11-A0FC-14F5-56ED-CCCFF8E86F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52361" y="3838756"/>
            <a:ext cx="2470535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/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8" name="Espace réservé du texte 17">
            <a:extLst>
              <a:ext uri="{FF2B5EF4-FFF2-40B4-BE49-F238E27FC236}">
                <a16:creationId xmlns:a16="http://schemas.microsoft.com/office/drawing/2014/main" id="{C6501A11-B893-0C41-ABA5-71D60DBF440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52361" y="4861710"/>
            <a:ext cx="2470535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1"/>
            </a:lvl1pPr>
            <a:lvl2pPr marL="457200" indent="0">
              <a:buNone/>
              <a:defRPr/>
            </a:lvl2pPr>
          </a:lstStyle>
          <a:p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Consectetuer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lit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commodo.</a:t>
            </a:r>
            <a:endParaRPr lang="fr-FR"/>
          </a:p>
        </p:txBody>
      </p:sp>
      <p:sp>
        <p:nvSpPr>
          <p:cNvPr id="29" name="Espace réservé du texte 17">
            <a:extLst>
              <a:ext uri="{FF2B5EF4-FFF2-40B4-BE49-F238E27FC236}">
                <a16:creationId xmlns:a16="http://schemas.microsoft.com/office/drawing/2014/main" id="{0CA6DD1C-C962-6C8D-8F14-A88A818053D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2361" y="5690560"/>
            <a:ext cx="2470535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/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2D6422F5-FF60-AFA5-C4DA-1951187205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458075" y="438127"/>
            <a:ext cx="4248000" cy="5937250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4001715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C04BE12B-222A-E03C-0F02-EBCC53644F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3495" y="1589305"/>
            <a:ext cx="5576045" cy="23091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1">
                <a:solidFill>
                  <a:srgbClr val="97C62E"/>
                </a:solidFill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fr-FR"/>
              <a:t>SUR TITRE</a:t>
            </a:r>
            <a:endParaRPr lang="fr-BE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BCB0E257-B783-CD59-EBC7-3500459186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3495" y="1962407"/>
            <a:ext cx="5576045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200" b="1"/>
            </a:lvl1pPr>
          </a:lstStyle>
          <a:p>
            <a:pPr algn="l"/>
            <a:r>
              <a:rPr lang="fr-FR" sz="3200" b="1" err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itle</a:t>
            </a:r>
            <a:r>
              <a:rPr lang="fr-FR" sz="3200" b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3200" b="1" err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xt</a:t>
            </a:r>
            <a:r>
              <a:rPr lang="fr-FR" sz="3200" b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&amp; </a:t>
            </a:r>
            <a:r>
              <a:rPr lang="fr-FR" sz="3200" b="1" err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ist</a:t>
            </a:r>
            <a:r>
              <a:rPr lang="fr-FR" sz="3200" b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photo.</a:t>
            </a:r>
            <a:endParaRPr lang="fr-BE" sz="3200">
              <a:solidFill>
                <a:srgbClr val="0C1D3E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Espace réservé du texte 17">
            <a:extLst>
              <a:ext uri="{FF2B5EF4-FFF2-40B4-BE49-F238E27FC236}">
                <a16:creationId xmlns:a16="http://schemas.microsoft.com/office/drawing/2014/main" id="{D87956F5-3286-C8C6-2642-D5B2ADDDDB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23495" y="4861710"/>
            <a:ext cx="2600324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1"/>
            </a:lvl1pPr>
            <a:lvl2pPr marL="457200" indent="0">
              <a:buNone/>
              <a:defRPr/>
            </a:lvl2pPr>
          </a:lstStyle>
          <a:p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Consectetuer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lit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commodo.</a:t>
            </a:r>
            <a:endParaRPr lang="fr-FR"/>
          </a:p>
        </p:txBody>
      </p:sp>
      <p:sp>
        <p:nvSpPr>
          <p:cNvPr id="15" name="Espace réservé du texte 17">
            <a:extLst>
              <a:ext uri="{FF2B5EF4-FFF2-40B4-BE49-F238E27FC236}">
                <a16:creationId xmlns:a16="http://schemas.microsoft.com/office/drawing/2014/main" id="{EA283651-324B-BCCC-227D-AEB3205E62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23495" y="5690560"/>
            <a:ext cx="2600324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/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2D6422F5-FF60-AFA5-C4DA-1951187205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523495" y="2984740"/>
            <a:ext cx="2600324" cy="1732938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21" name="Espace réservé du texte 17">
            <a:extLst>
              <a:ext uri="{FF2B5EF4-FFF2-40B4-BE49-F238E27FC236}">
                <a16:creationId xmlns:a16="http://schemas.microsoft.com/office/drawing/2014/main" id="{9AD43C55-2633-DAAA-D1D9-65E561DF38E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686513" y="4861710"/>
            <a:ext cx="2600324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1"/>
            </a:lvl1pPr>
            <a:lvl2pPr marL="457200" indent="0">
              <a:buNone/>
              <a:defRPr/>
            </a:lvl2pPr>
          </a:lstStyle>
          <a:p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Consectetuer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lit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commodo.</a:t>
            </a:r>
            <a:endParaRPr lang="fr-FR"/>
          </a:p>
        </p:txBody>
      </p:sp>
      <p:sp>
        <p:nvSpPr>
          <p:cNvPr id="22" name="Espace réservé du texte 17">
            <a:extLst>
              <a:ext uri="{FF2B5EF4-FFF2-40B4-BE49-F238E27FC236}">
                <a16:creationId xmlns:a16="http://schemas.microsoft.com/office/drawing/2014/main" id="{12F56D50-EA24-85D9-1915-AA02BC97B71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86513" y="5690560"/>
            <a:ext cx="2600324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/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Espace réservé pour une image  2">
            <a:extLst>
              <a:ext uri="{FF2B5EF4-FFF2-40B4-BE49-F238E27FC236}">
                <a16:creationId xmlns:a16="http://schemas.microsoft.com/office/drawing/2014/main" id="{B9031AE4-1E05-9C73-01C8-277758559FC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686513" y="2984740"/>
            <a:ext cx="2600324" cy="1732938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24" name="Espace réservé du texte 17">
            <a:extLst>
              <a:ext uri="{FF2B5EF4-FFF2-40B4-BE49-F238E27FC236}">
                <a16:creationId xmlns:a16="http://schemas.microsoft.com/office/drawing/2014/main" id="{2954B041-C57A-5FDE-B14C-D11BE125040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849531" y="4861710"/>
            <a:ext cx="2600324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 b="1"/>
            </a:lvl1pPr>
            <a:lvl2pPr marL="457200" indent="0">
              <a:buNone/>
              <a:defRPr/>
            </a:lvl2pPr>
          </a:lstStyle>
          <a:p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Consectetuer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b="1" err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lit</a:t>
            </a:r>
            <a:r>
              <a:rPr lang="fr-FR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commodo.</a:t>
            </a:r>
            <a:endParaRPr lang="fr-FR"/>
          </a:p>
        </p:txBody>
      </p:sp>
      <p:sp>
        <p:nvSpPr>
          <p:cNvPr id="25" name="Espace réservé du texte 17">
            <a:extLst>
              <a:ext uri="{FF2B5EF4-FFF2-40B4-BE49-F238E27FC236}">
                <a16:creationId xmlns:a16="http://schemas.microsoft.com/office/drawing/2014/main" id="{3B4A8076-022D-C343-C4F8-EE73511CAA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849531" y="5690560"/>
            <a:ext cx="2600324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/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0" name="Espace réservé pour une image  2">
            <a:extLst>
              <a:ext uri="{FF2B5EF4-FFF2-40B4-BE49-F238E27FC236}">
                <a16:creationId xmlns:a16="http://schemas.microsoft.com/office/drawing/2014/main" id="{7846AA1B-1307-C7C8-86E5-17AB252C4CE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849531" y="2984740"/>
            <a:ext cx="2600324" cy="1732938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08867762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Image 16">
            <a:extLst>
              <a:ext uri="{FF2B5EF4-FFF2-40B4-BE49-F238E27FC236}">
                <a16:creationId xmlns:a16="http://schemas.microsoft.com/office/drawing/2014/main" id="{E8476ABF-C079-022D-E0CF-A69E87CAE3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90" b="3290"/>
          <a:stretch/>
        </p:blipFill>
        <p:spPr>
          <a:xfrm>
            <a:off x="733246" y="1399413"/>
            <a:ext cx="11094301" cy="5086441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8B7D6CE7-6EFC-E926-70C1-A527DCE16BE5}"/>
              </a:ext>
            </a:extLst>
          </p:cNvPr>
          <p:cNvSpPr txBox="1"/>
          <p:nvPr userDrawn="1"/>
        </p:nvSpPr>
        <p:spPr>
          <a:xfrm>
            <a:off x="4196972" y="733245"/>
            <a:ext cx="4149305" cy="523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2800" b="1" i="0" err="1">
                <a:solidFill>
                  <a:srgbClr val="0C1D3E"/>
                </a:solidFill>
                <a:effectLst/>
                <a:latin typeface="Arial" panose="020B0604020202020204" pitchFamily="34" charset="0"/>
              </a:rPr>
              <a:t>Founding</a:t>
            </a:r>
            <a:r>
              <a:rPr lang="fr-BE" sz="2800" b="1" i="0">
                <a:solidFill>
                  <a:srgbClr val="0C1D3E"/>
                </a:solidFill>
                <a:effectLst/>
                <a:latin typeface="Arial" panose="020B0604020202020204" pitchFamily="34" charset="0"/>
              </a:rPr>
              <a:t> </a:t>
            </a:r>
            <a:r>
              <a:rPr lang="fr-BE" sz="2800" b="1" i="0" err="1">
                <a:solidFill>
                  <a:srgbClr val="0C1D3E"/>
                </a:solidFill>
                <a:effectLst/>
                <a:latin typeface="Arial" panose="020B0604020202020204" pitchFamily="34" charset="0"/>
              </a:rPr>
              <a:t>Members</a:t>
            </a:r>
            <a:endParaRPr lang="fr-BE" sz="2800" b="1">
              <a:solidFill>
                <a:srgbClr val="0C1D3E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980130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FC5BCB5-C5C5-472A-AE99-3FD3D1743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CB4310C6-975C-48B1-8992-765B9FA143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25.10.2021</a:t>
            </a:r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3B62C47-5EC6-457F-A874-BC9992E202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/>
              <a:t>SP Coregroup Workshop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F9BFB1-83AD-480F-A7DD-5A386A316B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8A78C3-99FE-4EC9-AD34-26A0EDFEF8EF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209304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C592C4D3-9644-BF76-5002-32CAF20140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9931" y="1985834"/>
            <a:ext cx="10785527" cy="437057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197331FC-E5E4-F414-1C34-981AF33B32A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9932" y="1127905"/>
            <a:ext cx="10785528" cy="61211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rgbClr val="92D050"/>
                </a:solidFill>
              </a:defRPr>
            </a:lvl1pPr>
            <a:lvl2pPr>
              <a:defRPr>
                <a:solidFill>
                  <a:srgbClr val="92D050"/>
                </a:solidFill>
              </a:defRPr>
            </a:lvl2pPr>
            <a:lvl3pPr>
              <a:defRPr>
                <a:solidFill>
                  <a:srgbClr val="92D050"/>
                </a:solidFill>
              </a:defRPr>
            </a:lvl3pPr>
            <a:lvl4pPr>
              <a:defRPr>
                <a:solidFill>
                  <a:srgbClr val="92D050"/>
                </a:solidFill>
              </a:defRPr>
            </a:lvl4pPr>
            <a:lvl5pPr>
              <a:defRPr>
                <a:solidFill>
                  <a:srgbClr val="92D050"/>
                </a:solidFill>
              </a:defRPr>
            </a:lvl5pPr>
          </a:lstStyle>
          <a:p>
            <a:pPr lvl="0"/>
            <a:r>
              <a:rPr lang="fr-FR" err="1"/>
              <a:t>Title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block.</a:t>
            </a:r>
          </a:p>
        </p:txBody>
      </p:sp>
    </p:spTree>
    <p:extLst>
      <p:ext uri="{BB962C8B-B14F-4D97-AF65-F5344CB8AC3E}">
        <p14:creationId xmlns:p14="http://schemas.microsoft.com/office/powerpoint/2010/main" val="66259038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C04BE12B-222A-E03C-0F02-EBCC53644F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3495" y="1589305"/>
            <a:ext cx="6484936" cy="23091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1">
                <a:solidFill>
                  <a:schemeClr val="bg2"/>
                </a:solidFill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fr-FR"/>
              <a:t>SUR TITRE</a:t>
            </a:r>
            <a:endParaRPr lang="fr-BE"/>
          </a:p>
        </p:txBody>
      </p: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C592C4D3-9644-BF76-5002-32CAF20140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23495" y="3157687"/>
            <a:ext cx="4877306" cy="338165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texte 17">
            <a:extLst>
              <a:ext uri="{FF2B5EF4-FFF2-40B4-BE49-F238E27FC236}">
                <a16:creationId xmlns:a16="http://schemas.microsoft.com/office/drawing/2014/main" id="{6D0E4508-96DB-A771-CA1A-41DA60A240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3531" y="3157686"/>
            <a:ext cx="4877306" cy="338165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FCA95B8C-B234-5B01-831A-CC890181CA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24001" y="1962406"/>
            <a:ext cx="6484430" cy="10404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rgbClr val="92D050"/>
                </a:solidFill>
              </a:defRPr>
            </a:lvl1pPr>
            <a:lvl2pPr>
              <a:defRPr>
                <a:solidFill>
                  <a:srgbClr val="92D050"/>
                </a:solidFill>
              </a:defRPr>
            </a:lvl2pPr>
            <a:lvl3pPr>
              <a:defRPr>
                <a:solidFill>
                  <a:srgbClr val="92D050"/>
                </a:solidFill>
              </a:defRPr>
            </a:lvl3pPr>
            <a:lvl4pPr>
              <a:defRPr>
                <a:solidFill>
                  <a:srgbClr val="92D050"/>
                </a:solidFill>
              </a:defRPr>
            </a:lvl4pPr>
            <a:lvl5pPr>
              <a:defRPr>
                <a:solidFill>
                  <a:srgbClr val="92D050"/>
                </a:solidFill>
              </a:defRPr>
            </a:lvl5pPr>
          </a:lstStyle>
          <a:p>
            <a:pPr lvl="0"/>
            <a:r>
              <a:rPr lang="fr-FR" err="1"/>
              <a:t>Title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block.</a:t>
            </a:r>
          </a:p>
        </p:txBody>
      </p:sp>
    </p:spTree>
    <p:extLst>
      <p:ext uri="{BB962C8B-B14F-4D97-AF65-F5344CB8AC3E}">
        <p14:creationId xmlns:p14="http://schemas.microsoft.com/office/powerpoint/2010/main" val="11820520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C04BE12B-222A-E03C-0F02-EBCC53644F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3495" y="1589305"/>
            <a:ext cx="4877306" cy="23091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1">
                <a:solidFill>
                  <a:schemeClr val="bg2"/>
                </a:solidFill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fr-FR"/>
              <a:t>SUR TITRE</a:t>
            </a:r>
            <a:endParaRPr lang="fr-BE"/>
          </a:p>
        </p:txBody>
      </p: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C592C4D3-9644-BF76-5002-32CAF20140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23495" y="3157687"/>
            <a:ext cx="4877306" cy="338165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6DAE660F-185A-024D-FE17-309D90FA57A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32000" y="0"/>
            <a:ext cx="4860000" cy="6858000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7" name="Espace réservé du texte 2">
            <a:extLst>
              <a:ext uri="{FF2B5EF4-FFF2-40B4-BE49-F238E27FC236}">
                <a16:creationId xmlns:a16="http://schemas.microsoft.com/office/drawing/2014/main" id="{6C5C97D7-77B4-E099-F8F7-D514FAFC0AD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24001" y="1962406"/>
            <a:ext cx="4876800" cy="10404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rgbClr val="92D050"/>
                </a:solidFill>
              </a:defRPr>
            </a:lvl1pPr>
            <a:lvl2pPr>
              <a:defRPr>
                <a:solidFill>
                  <a:srgbClr val="92D050"/>
                </a:solidFill>
              </a:defRPr>
            </a:lvl2pPr>
            <a:lvl3pPr>
              <a:defRPr>
                <a:solidFill>
                  <a:srgbClr val="92D050"/>
                </a:solidFill>
              </a:defRPr>
            </a:lvl3pPr>
            <a:lvl4pPr>
              <a:defRPr>
                <a:solidFill>
                  <a:srgbClr val="92D050"/>
                </a:solidFill>
              </a:defRPr>
            </a:lvl4pPr>
            <a:lvl5pPr>
              <a:defRPr>
                <a:solidFill>
                  <a:srgbClr val="92D050"/>
                </a:solidFill>
              </a:defRPr>
            </a:lvl5pPr>
          </a:lstStyle>
          <a:p>
            <a:pPr lvl="0"/>
            <a:r>
              <a:rPr lang="fr-FR" err="1"/>
              <a:t>Title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block.</a:t>
            </a:r>
          </a:p>
        </p:txBody>
      </p:sp>
    </p:spTree>
    <p:extLst>
      <p:ext uri="{BB962C8B-B14F-4D97-AF65-F5344CB8AC3E}">
        <p14:creationId xmlns:p14="http://schemas.microsoft.com/office/powerpoint/2010/main" val="7258371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C04BE12B-222A-E03C-0F02-EBCC53644F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3495" y="1589305"/>
            <a:ext cx="6484936" cy="23091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1">
                <a:solidFill>
                  <a:schemeClr val="bg2"/>
                </a:solidFill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fr-FR"/>
              <a:t>SUR TITRE</a:t>
            </a:r>
            <a:endParaRPr lang="fr-BE"/>
          </a:p>
        </p:txBody>
      </p:sp>
      <p:sp>
        <p:nvSpPr>
          <p:cNvPr id="12" name="Espace réservé du texte 17">
            <a:extLst>
              <a:ext uri="{FF2B5EF4-FFF2-40B4-BE49-F238E27FC236}">
                <a16:creationId xmlns:a16="http://schemas.microsoft.com/office/drawing/2014/main" id="{10492186-6315-87FA-9F38-94B329B74C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23495" y="3838756"/>
            <a:ext cx="2919196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7">
            <a:extLst>
              <a:ext uri="{FF2B5EF4-FFF2-40B4-BE49-F238E27FC236}">
                <a16:creationId xmlns:a16="http://schemas.microsoft.com/office/drawing/2014/main" id="{EA283651-324B-BCCC-227D-AEB3205E62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23495" y="5690560"/>
            <a:ext cx="2919196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8" name="Espace réservé du texte 17">
            <a:extLst>
              <a:ext uri="{FF2B5EF4-FFF2-40B4-BE49-F238E27FC236}">
                <a16:creationId xmlns:a16="http://schemas.microsoft.com/office/drawing/2014/main" id="{10984A0C-16F8-ADBC-5AED-8B634AE01D2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089235" y="3838756"/>
            <a:ext cx="2919196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0" name="Espace réservé du texte 17">
            <a:extLst>
              <a:ext uri="{FF2B5EF4-FFF2-40B4-BE49-F238E27FC236}">
                <a16:creationId xmlns:a16="http://schemas.microsoft.com/office/drawing/2014/main" id="{81753861-98F6-9480-A81A-A82D009885E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089235" y="5690560"/>
            <a:ext cx="2919196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2" name="Espace réservé du texte 17">
            <a:extLst>
              <a:ext uri="{FF2B5EF4-FFF2-40B4-BE49-F238E27FC236}">
                <a16:creationId xmlns:a16="http://schemas.microsoft.com/office/drawing/2014/main" id="{7E3E1264-B91A-BBD9-8382-CFD9867209B5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654975" y="3838756"/>
            <a:ext cx="2919196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4" name="Espace réservé du texte 17">
            <a:extLst>
              <a:ext uri="{FF2B5EF4-FFF2-40B4-BE49-F238E27FC236}">
                <a16:creationId xmlns:a16="http://schemas.microsoft.com/office/drawing/2014/main" id="{BC30AF50-52B5-F9CB-13EA-B7CC320E3620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654975" y="5690560"/>
            <a:ext cx="2919196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19340BE-F244-B194-B9FE-AD3BE507513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23495" y="2984206"/>
            <a:ext cx="2919196" cy="7105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 commodo.</a:t>
            </a:r>
            <a:endParaRPr lang="fr-BE"/>
          </a:p>
        </p:txBody>
      </p:sp>
      <p:sp>
        <p:nvSpPr>
          <p:cNvPr id="25" name="Espace réservé du texte 2">
            <a:extLst>
              <a:ext uri="{FF2B5EF4-FFF2-40B4-BE49-F238E27FC236}">
                <a16:creationId xmlns:a16="http://schemas.microsoft.com/office/drawing/2014/main" id="{9A1F4EE3-B581-EE66-7E9C-CF1B7B65FA4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89237" y="2984206"/>
            <a:ext cx="2919196" cy="7105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 commodo.</a:t>
            </a:r>
            <a:endParaRPr lang="fr-BE"/>
          </a:p>
        </p:txBody>
      </p:sp>
      <p:sp>
        <p:nvSpPr>
          <p:cNvPr id="26" name="Espace réservé du texte 2">
            <a:extLst>
              <a:ext uri="{FF2B5EF4-FFF2-40B4-BE49-F238E27FC236}">
                <a16:creationId xmlns:a16="http://schemas.microsoft.com/office/drawing/2014/main" id="{A9D30133-9EBA-01AD-3B5D-A08C469E3BB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54975" y="2984205"/>
            <a:ext cx="2919196" cy="7105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 commodo.</a:t>
            </a:r>
            <a:endParaRPr lang="fr-BE"/>
          </a:p>
        </p:txBody>
      </p:sp>
      <p:sp>
        <p:nvSpPr>
          <p:cNvPr id="27" name="Espace réservé du texte 2">
            <a:extLst>
              <a:ext uri="{FF2B5EF4-FFF2-40B4-BE49-F238E27FC236}">
                <a16:creationId xmlns:a16="http://schemas.microsoft.com/office/drawing/2014/main" id="{33012E4F-7AF2-0FD0-BAAA-9570F3967B1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3495" y="4861888"/>
            <a:ext cx="2919196" cy="7105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 commodo.</a:t>
            </a:r>
            <a:endParaRPr lang="fr-BE"/>
          </a:p>
        </p:txBody>
      </p:sp>
      <p:sp>
        <p:nvSpPr>
          <p:cNvPr id="28" name="Espace réservé du texte 2">
            <a:extLst>
              <a:ext uri="{FF2B5EF4-FFF2-40B4-BE49-F238E27FC236}">
                <a16:creationId xmlns:a16="http://schemas.microsoft.com/office/drawing/2014/main" id="{C1EA9DE1-6DE6-4125-B7BE-28636022734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089235" y="4852828"/>
            <a:ext cx="2919196" cy="7105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 commodo.</a:t>
            </a:r>
            <a:endParaRPr lang="fr-BE"/>
          </a:p>
        </p:txBody>
      </p:sp>
      <p:sp>
        <p:nvSpPr>
          <p:cNvPr id="29" name="Espace réservé du texte 2">
            <a:extLst>
              <a:ext uri="{FF2B5EF4-FFF2-40B4-BE49-F238E27FC236}">
                <a16:creationId xmlns:a16="http://schemas.microsoft.com/office/drawing/2014/main" id="{244FE958-9DB5-1BD4-4927-4D61D0F9EAD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54975" y="4861888"/>
            <a:ext cx="2919196" cy="7105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adipiscing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 commodo.</a:t>
            </a:r>
            <a:endParaRPr lang="fr-BE"/>
          </a:p>
        </p:txBody>
      </p:sp>
      <p:sp>
        <p:nvSpPr>
          <p:cNvPr id="30" name="Espace réservé du texte 2">
            <a:extLst>
              <a:ext uri="{FF2B5EF4-FFF2-40B4-BE49-F238E27FC236}">
                <a16:creationId xmlns:a16="http://schemas.microsoft.com/office/drawing/2014/main" id="{0D0378D2-B97D-C6DD-3C23-3156A6660A6F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524001" y="1962406"/>
            <a:ext cx="6484430" cy="7105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rgbClr val="92D050"/>
                </a:solidFill>
              </a:defRPr>
            </a:lvl1pPr>
            <a:lvl2pPr>
              <a:defRPr>
                <a:solidFill>
                  <a:srgbClr val="92D050"/>
                </a:solidFill>
              </a:defRPr>
            </a:lvl2pPr>
            <a:lvl3pPr>
              <a:defRPr>
                <a:solidFill>
                  <a:srgbClr val="92D050"/>
                </a:solidFill>
              </a:defRPr>
            </a:lvl3pPr>
            <a:lvl4pPr>
              <a:defRPr>
                <a:solidFill>
                  <a:srgbClr val="92D050"/>
                </a:solidFill>
              </a:defRPr>
            </a:lvl4pPr>
            <a:lvl5pPr>
              <a:defRPr>
                <a:solidFill>
                  <a:srgbClr val="92D050"/>
                </a:solidFill>
              </a:defRPr>
            </a:lvl5pPr>
          </a:lstStyle>
          <a:p>
            <a:pPr lvl="0"/>
            <a:r>
              <a:rPr lang="fr-FR" err="1"/>
              <a:t>Title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block.</a:t>
            </a:r>
          </a:p>
        </p:txBody>
      </p:sp>
    </p:spTree>
    <p:extLst>
      <p:ext uri="{BB962C8B-B14F-4D97-AF65-F5344CB8AC3E}">
        <p14:creationId xmlns:p14="http://schemas.microsoft.com/office/powerpoint/2010/main" val="40644982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C04BE12B-222A-E03C-0F02-EBCC53644F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3495" y="1589305"/>
            <a:ext cx="5576045" cy="23091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1">
                <a:solidFill>
                  <a:schemeClr val="bg2"/>
                </a:solidFill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fr-FR"/>
              <a:t>SUR TITRE</a:t>
            </a:r>
            <a:endParaRPr lang="fr-BE"/>
          </a:p>
        </p:txBody>
      </p:sp>
      <p:sp>
        <p:nvSpPr>
          <p:cNvPr id="12" name="Espace réservé du texte 17">
            <a:extLst>
              <a:ext uri="{FF2B5EF4-FFF2-40B4-BE49-F238E27FC236}">
                <a16:creationId xmlns:a16="http://schemas.microsoft.com/office/drawing/2014/main" id="{10492186-6315-87FA-9F38-94B329B74C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523495" y="3838756"/>
            <a:ext cx="2470535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15" name="Espace réservé du texte 17">
            <a:extLst>
              <a:ext uri="{FF2B5EF4-FFF2-40B4-BE49-F238E27FC236}">
                <a16:creationId xmlns:a16="http://schemas.microsoft.com/office/drawing/2014/main" id="{EA283651-324B-BCCC-227D-AEB3205E62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23495" y="5690560"/>
            <a:ext cx="2470535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7" name="Espace réservé du texte 17">
            <a:extLst>
              <a:ext uri="{FF2B5EF4-FFF2-40B4-BE49-F238E27FC236}">
                <a16:creationId xmlns:a16="http://schemas.microsoft.com/office/drawing/2014/main" id="{68490D11-A0FC-14F5-56ED-CCCFF8E86F4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52361" y="3838756"/>
            <a:ext cx="2470535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9" name="Espace réservé du texte 17">
            <a:extLst>
              <a:ext uri="{FF2B5EF4-FFF2-40B4-BE49-F238E27FC236}">
                <a16:creationId xmlns:a16="http://schemas.microsoft.com/office/drawing/2014/main" id="{0CA6DD1C-C962-6C8D-8F14-A88A818053D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52361" y="5690560"/>
            <a:ext cx="2470535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2D6422F5-FF60-AFA5-C4DA-1951187205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458075" y="438127"/>
            <a:ext cx="4248000" cy="5937250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8D66F3B1-9292-9D5F-7473-969BC8A84AC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23494" y="3009906"/>
            <a:ext cx="2470535" cy="6848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 commodo.</a:t>
            </a:r>
            <a:endParaRPr lang="fr-BE"/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DBAFF7B6-267F-BA40-72FA-B627495927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352360" y="3009905"/>
            <a:ext cx="2470535" cy="6848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 commodo.</a:t>
            </a:r>
            <a:endParaRPr lang="fr-BE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83CE675D-7414-03D5-B8DE-2F9AB9359EB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352359" y="4861709"/>
            <a:ext cx="2470535" cy="6848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 commodo.</a:t>
            </a:r>
            <a:endParaRPr lang="fr-BE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B04195BB-6D13-FD3C-95A6-5FF8BD017CC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3493" y="4861709"/>
            <a:ext cx="2470535" cy="6848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 commodo.</a:t>
            </a:r>
            <a:endParaRPr lang="fr-BE"/>
          </a:p>
        </p:txBody>
      </p:sp>
      <p:sp>
        <p:nvSpPr>
          <p:cNvPr id="21" name="Espace réservé du texte 2">
            <a:extLst>
              <a:ext uri="{FF2B5EF4-FFF2-40B4-BE49-F238E27FC236}">
                <a16:creationId xmlns:a16="http://schemas.microsoft.com/office/drawing/2014/main" id="{0AF9CB23-CF3B-CB27-BBBD-32002223E33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524001" y="1962406"/>
            <a:ext cx="5298893" cy="7105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rgbClr val="92D050"/>
                </a:solidFill>
              </a:defRPr>
            </a:lvl1pPr>
            <a:lvl2pPr>
              <a:defRPr>
                <a:solidFill>
                  <a:srgbClr val="92D050"/>
                </a:solidFill>
              </a:defRPr>
            </a:lvl2pPr>
            <a:lvl3pPr>
              <a:defRPr>
                <a:solidFill>
                  <a:srgbClr val="92D050"/>
                </a:solidFill>
              </a:defRPr>
            </a:lvl3pPr>
            <a:lvl4pPr>
              <a:defRPr>
                <a:solidFill>
                  <a:srgbClr val="92D050"/>
                </a:solidFill>
              </a:defRPr>
            </a:lvl4pPr>
            <a:lvl5pPr>
              <a:defRPr>
                <a:solidFill>
                  <a:srgbClr val="92D050"/>
                </a:solidFill>
              </a:defRPr>
            </a:lvl5pPr>
          </a:lstStyle>
          <a:p>
            <a:pPr lvl="0"/>
            <a:r>
              <a:rPr lang="fr-FR" err="1"/>
              <a:t>Title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block.</a:t>
            </a:r>
          </a:p>
        </p:txBody>
      </p:sp>
    </p:spTree>
    <p:extLst>
      <p:ext uri="{BB962C8B-B14F-4D97-AF65-F5344CB8AC3E}">
        <p14:creationId xmlns:p14="http://schemas.microsoft.com/office/powerpoint/2010/main" val="25163033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C04BE12B-222A-E03C-0F02-EBCC53644F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53532" y="2400878"/>
            <a:ext cx="6484936" cy="49010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1">
                <a:solidFill>
                  <a:srgbClr val="97C62E"/>
                </a:solidFill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fr-FR"/>
              <a:t>SUR TITRE</a:t>
            </a:r>
            <a:endParaRPr lang="fr-BE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BCB0E257-B783-CD59-EBC7-3500459186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53532" y="3057093"/>
            <a:ext cx="6484937" cy="105308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2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87858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C04BE12B-222A-E03C-0F02-EBCC53644F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3495" y="1589305"/>
            <a:ext cx="5576045" cy="23091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1">
                <a:solidFill>
                  <a:schemeClr val="bg2"/>
                </a:solidFill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fr-FR"/>
              <a:t>SUR TITRE</a:t>
            </a:r>
            <a:endParaRPr lang="fr-BE"/>
          </a:p>
        </p:txBody>
      </p:sp>
      <p:sp>
        <p:nvSpPr>
          <p:cNvPr id="15" name="Espace réservé du texte 17">
            <a:extLst>
              <a:ext uri="{FF2B5EF4-FFF2-40B4-BE49-F238E27FC236}">
                <a16:creationId xmlns:a16="http://schemas.microsoft.com/office/drawing/2014/main" id="{EA283651-324B-BCCC-227D-AEB3205E623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23495" y="5690560"/>
            <a:ext cx="2600324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2D6422F5-FF60-AFA5-C4DA-19511872058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523495" y="2984740"/>
            <a:ext cx="2600324" cy="1732938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22" name="Espace réservé du texte 17">
            <a:extLst>
              <a:ext uri="{FF2B5EF4-FFF2-40B4-BE49-F238E27FC236}">
                <a16:creationId xmlns:a16="http://schemas.microsoft.com/office/drawing/2014/main" id="{12F56D50-EA24-85D9-1915-AA02BC97B71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86513" y="5690560"/>
            <a:ext cx="2600324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23" name="Espace réservé pour une image  2">
            <a:extLst>
              <a:ext uri="{FF2B5EF4-FFF2-40B4-BE49-F238E27FC236}">
                <a16:creationId xmlns:a16="http://schemas.microsoft.com/office/drawing/2014/main" id="{B9031AE4-1E05-9C73-01C8-277758559FC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686513" y="2984740"/>
            <a:ext cx="2600324" cy="1732938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25" name="Espace réservé du texte 17">
            <a:extLst>
              <a:ext uri="{FF2B5EF4-FFF2-40B4-BE49-F238E27FC236}">
                <a16:creationId xmlns:a16="http://schemas.microsoft.com/office/drawing/2014/main" id="{3B4A8076-022D-C343-C4F8-EE73511CAA2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7849531" y="5690560"/>
            <a:ext cx="2600324" cy="6848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400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0" name="Espace réservé pour une image  2">
            <a:extLst>
              <a:ext uri="{FF2B5EF4-FFF2-40B4-BE49-F238E27FC236}">
                <a16:creationId xmlns:a16="http://schemas.microsoft.com/office/drawing/2014/main" id="{7846AA1B-1307-C7C8-86E5-17AB252C4CE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849531" y="2984740"/>
            <a:ext cx="2600324" cy="1732938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2B6DFEB1-49D1-D831-AF34-A641A057F39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524000" y="1962406"/>
            <a:ext cx="5575539" cy="7105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>
                <a:solidFill>
                  <a:srgbClr val="92D050"/>
                </a:solidFill>
              </a:defRPr>
            </a:lvl1pPr>
            <a:lvl2pPr>
              <a:defRPr>
                <a:solidFill>
                  <a:srgbClr val="92D050"/>
                </a:solidFill>
              </a:defRPr>
            </a:lvl2pPr>
            <a:lvl3pPr>
              <a:defRPr>
                <a:solidFill>
                  <a:srgbClr val="92D050"/>
                </a:solidFill>
              </a:defRPr>
            </a:lvl3pPr>
            <a:lvl4pPr>
              <a:defRPr>
                <a:solidFill>
                  <a:srgbClr val="92D050"/>
                </a:solidFill>
              </a:defRPr>
            </a:lvl4pPr>
            <a:lvl5pPr>
              <a:defRPr>
                <a:solidFill>
                  <a:srgbClr val="92D050"/>
                </a:solidFill>
              </a:defRPr>
            </a:lvl5pPr>
          </a:lstStyle>
          <a:p>
            <a:pPr lvl="0"/>
            <a:r>
              <a:rPr lang="fr-FR" err="1"/>
              <a:t>Title</a:t>
            </a:r>
            <a:r>
              <a:rPr lang="fr-FR"/>
              <a:t> </a:t>
            </a:r>
            <a:r>
              <a:rPr lang="fr-FR" err="1"/>
              <a:t>text</a:t>
            </a:r>
            <a:r>
              <a:rPr lang="fr-FR"/>
              <a:t> block.</a:t>
            </a:r>
          </a:p>
        </p:txBody>
      </p:sp>
      <p:sp>
        <p:nvSpPr>
          <p:cNvPr id="18" name="Espace réservé du texte 2">
            <a:extLst>
              <a:ext uri="{FF2B5EF4-FFF2-40B4-BE49-F238E27FC236}">
                <a16:creationId xmlns:a16="http://schemas.microsoft.com/office/drawing/2014/main" id="{4AE72AD8-2F22-4960-1AFC-4ADE7EDDFF9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23495" y="4861709"/>
            <a:ext cx="2600324" cy="6848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 commodo.</a:t>
            </a:r>
            <a:endParaRPr lang="fr-BE"/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8DAE46FF-79E7-602B-F75F-CA95287F518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686513" y="4861709"/>
            <a:ext cx="2600324" cy="6848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 commodo.</a:t>
            </a:r>
            <a:endParaRPr lang="fr-BE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3B28F3C5-2B3F-F8A3-65D4-993CACEF283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849531" y="4861708"/>
            <a:ext cx="2600324" cy="6848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fr-FR" err="1"/>
              <a:t>Consectetuer</a:t>
            </a:r>
            <a:r>
              <a:rPr lang="fr-FR"/>
              <a:t> </a:t>
            </a:r>
            <a:r>
              <a:rPr lang="fr-FR" err="1"/>
              <a:t>elit</a:t>
            </a:r>
            <a:r>
              <a:rPr lang="fr-FR"/>
              <a:t> commodo.</a:t>
            </a:r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1186172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EBD342-D197-4871-93EC-F6E6AAE5F4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A2ACBC4-3531-4533-A33A-4ED7938418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20C37E5-E5E8-46DF-B208-1DC19C5222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10C6F-2457-43BF-BDD6-2AB3FC28C7B2}" type="datetimeFigureOut">
              <a:rPr lang="de-CH" smtClean="0"/>
              <a:t>23.04.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DA01724-52AF-4BEA-9396-88EF240D77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D67C102-610D-4C33-82CD-CD7EA1B806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CBDF7F-2714-4EC2-8170-CD125162812E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2131920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B175ED-78E3-4CA0-9F8A-42198F0E5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E889851-6032-4C2B-86CA-F8FECD2AD5F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473133D-43BA-4CE1-82F9-6613E87781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10C6F-2457-43BF-BDD6-2AB3FC28C7B2}" type="datetimeFigureOut">
              <a:rPr lang="de-CH" smtClean="0"/>
              <a:t>23.04.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37F3406-881C-46A3-AEDC-91F29B4AE7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CED967-2CA0-4BE3-96B6-5C37AB46C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CBDF7F-2714-4EC2-8170-CD125162812E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732095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C0BA69-7A91-462D-9B5E-B88676F188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DAA9461-EE19-4127-8196-6D75D84C27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120317-A467-40B1-A936-4ECEEFAFDA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10C6F-2457-43BF-BDD6-2AB3FC28C7B2}" type="datetimeFigureOut">
              <a:rPr lang="de-CH" smtClean="0"/>
              <a:t>23.04.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101000B-FD7D-47A6-A77D-AAEC6DFA39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9B27E72-A0D9-4D18-9051-6F619AC0D4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CBDF7F-2714-4EC2-8170-CD125162812E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735360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98D5DD7-BE9E-4963-A0F1-7DEE336710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99AC727-27E2-411D-84AF-6D8088B3341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E1CD53F7-40BC-428B-9352-D38678BA57B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8564C592-7792-4FC6-BF96-1124C10DFD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10C6F-2457-43BF-BDD6-2AB3FC28C7B2}" type="datetimeFigureOut">
              <a:rPr lang="de-CH" smtClean="0"/>
              <a:t>23.04.24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2D46E0C-25C2-431C-B185-31C1D5A34B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89BD41A-77B4-4099-9CC5-67394A8691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CBDF7F-2714-4EC2-8170-CD125162812E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491447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8DA7E5-69C4-446A-93FA-54A0B0CE32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29904F4-20DB-483C-B879-0071A0DD29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08023F4-181D-443F-AF5B-44A65F833E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B836FD-E697-4EAB-BD85-EA7EC2415E9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30009C25-6141-4F28-A10C-075FFC5060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C49FC2AB-BEA9-41BC-BEDD-B1D1A7C3FD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10C6F-2457-43BF-BDD6-2AB3FC28C7B2}" type="datetimeFigureOut">
              <a:rPr lang="de-CH" smtClean="0"/>
              <a:t>23.04.24</a:t>
            </a:fld>
            <a:endParaRPr lang="de-CH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0E910918-01AC-4F45-97EA-F7B8D8CDF9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8B393986-ACC5-43DF-8803-6C58724198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CBDF7F-2714-4EC2-8170-CD125162812E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60011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4C36BB-21F7-4661-8797-D6654ED110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50C7313A-373C-482C-B5EE-CC34773974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10C6F-2457-43BF-BDD6-2AB3FC28C7B2}" type="datetimeFigureOut">
              <a:rPr lang="de-CH" smtClean="0"/>
              <a:t>23.04.24</a:t>
            </a:fld>
            <a:endParaRPr lang="de-CH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D3B5444-FDD9-414D-A6BC-B2943321BB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CE3EB-F577-4823-94AC-54FEE7A99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CBDF7F-2714-4EC2-8170-CD125162812E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4529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94C36BB-21F7-4661-8797-D6654ED11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6820" y="510783"/>
            <a:ext cx="10515600" cy="824404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CCCE3EB-F577-4823-94AC-54FEE7A992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95887" y="6472701"/>
            <a:ext cx="478104" cy="365125"/>
          </a:xfrm>
        </p:spPr>
        <p:txBody>
          <a:bodyPr/>
          <a:lstStyle/>
          <a:p>
            <a:fld id="{56CBDF7F-2714-4EC2-8170-CD125162812E}" type="slidenum">
              <a:rPr lang="de-CH" smtClean="0"/>
              <a:t>‹Nr.›</a:t>
            </a:fld>
            <a:endParaRPr lang="de-CH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8E1849D-EC52-4D9E-B77A-D3628DADE1F5}"/>
              </a:ext>
            </a:extLst>
          </p:cNvPr>
          <p:cNvSpPr txBox="1"/>
          <p:nvPr userDrawn="1"/>
        </p:nvSpPr>
        <p:spPr>
          <a:xfrm>
            <a:off x="9943285" y="6655263"/>
            <a:ext cx="1289135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800" noProof="0"/>
              <a:t>ER System Pillar draft slid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0445438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7D65551F-35B3-4173-92A4-C940C3C127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10C6F-2457-43BF-BDD6-2AB3FC28C7B2}" type="datetimeFigureOut">
              <a:rPr lang="de-CH" smtClean="0"/>
              <a:t>23.04.24</a:t>
            </a:fld>
            <a:endParaRPr lang="de-CH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63734DF-A974-45D0-AED0-E340E1166C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1600538-E85A-4B1E-AC99-7E38C83705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CBDF7F-2714-4EC2-8170-CD125162812E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468205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A8C629-5005-4621-A399-468977F727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3E2BDC0-F9BB-479A-A9B0-8BC7051542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D703277-212C-46DF-8F14-8764B124B6F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DE4DCA5-BF67-4F73-B2C9-C1EA66D012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10C6F-2457-43BF-BDD6-2AB3FC28C7B2}" type="datetimeFigureOut">
              <a:rPr lang="de-CH" smtClean="0"/>
              <a:t>23.04.24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B3588B1A-CE92-449E-A73A-C4E55A3A30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AE5D795-E9F5-454A-8377-1FC5466EB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CBDF7F-2714-4EC2-8170-CD125162812E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225606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que 6">
            <a:extLst>
              <a:ext uri="{FF2B5EF4-FFF2-40B4-BE49-F238E27FC236}">
                <a16:creationId xmlns:a16="http://schemas.microsoft.com/office/drawing/2014/main" id="{9AC10A1A-3190-8676-8789-7E83ABECEC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412467" y="628869"/>
            <a:ext cx="1367066" cy="1032733"/>
          </a:xfrm>
          <a:prstGeom prst="rect">
            <a:avLst/>
          </a:prstGeom>
        </p:spPr>
      </p:pic>
      <p:sp>
        <p:nvSpPr>
          <p:cNvPr id="8" name="ZoneTexte 7">
            <a:extLst>
              <a:ext uri="{FF2B5EF4-FFF2-40B4-BE49-F238E27FC236}">
                <a16:creationId xmlns:a16="http://schemas.microsoft.com/office/drawing/2014/main" id="{F76E6324-C7D7-B674-8A52-6296967F9645}"/>
              </a:ext>
            </a:extLst>
          </p:cNvPr>
          <p:cNvSpPr txBox="1"/>
          <p:nvPr userDrawn="1"/>
        </p:nvSpPr>
        <p:spPr>
          <a:xfrm>
            <a:off x="4311213" y="3030100"/>
            <a:ext cx="356957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n>
                  <a:noFill/>
                </a:ln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ite Atrium Building, 2nd Floor </a:t>
            </a:r>
          </a:p>
          <a:p>
            <a:pPr algn="ctr"/>
            <a:r>
              <a:rPr lang="en-US">
                <a:ln>
                  <a:noFill/>
                </a:ln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venue de la </a:t>
            </a:r>
            <a:r>
              <a:rPr lang="en-US" err="1">
                <a:ln>
                  <a:noFill/>
                </a:ln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oison</a:t>
            </a:r>
            <a:r>
              <a:rPr lang="en-US">
                <a:ln>
                  <a:noFill/>
                </a:ln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’Or 56-60</a:t>
            </a:r>
          </a:p>
          <a:p>
            <a:pPr algn="ctr"/>
            <a:r>
              <a:rPr lang="en-US">
                <a:ln>
                  <a:noFill/>
                </a:ln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1060, Brussels - Belgium</a:t>
            </a:r>
            <a:endParaRPr lang="fr-B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27B3DEF0-2B1B-7580-0336-A80F3ED589BE}"/>
              </a:ext>
            </a:extLst>
          </p:cNvPr>
          <p:cNvSpPr txBox="1"/>
          <p:nvPr userDrawn="1"/>
        </p:nvSpPr>
        <p:spPr>
          <a:xfrm>
            <a:off x="4311213" y="4117560"/>
            <a:ext cx="35695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b="0" i="0">
                <a:effectLst/>
                <a:latin typeface="Arial" panose="020B0604020202020204" pitchFamily="34" charset="0"/>
                <a:hlinkClick r:id="rId4" tooltip="Cliquez pour ouvrir une nouvelle fenêtre ou onglet&#10;https://eur06.safelinks.protection.outlook.com/?url=http%3A%2F%2Fwww.rail-research.europa.eu%2F&amp;data=05%7C01%7C%7C6a04a5d6bd9d4e4fb10808da29def965..."/>
              </a:rPr>
              <a:t>www.rail-research.europa.eu</a:t>
            </a:r>
            <a:endParaRPr lang="fr-BE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ous-titre 2">
            <a:extLst>
              <a:ext uri="{FF2B5EF4-FFF2-40B4-BE49-F238E27FC236}">
                <a16:creationId xmlns:a16="http://schemas.microsoft.com/office/drawing/2014/main" id="{0838B557-1211-E6BE-A0A1-A2B74FA2B84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74109" y="2009356"/>
            <a:ext cx="6243782" cy="54266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sz="5400" b="1">
                <a:solidFill>
                  <a:srgbClr val="97C62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lick to edit Master subtitle style</a:t>
            </a:r>
            <a:endParaRPr lang="fr-BE" sz="5400">
              <a:solidFill>
                <a:srgbClr val="97C62E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Groupe 10">
            <a:extLst>
              <a:ext uri="{FF2B5EF4-FFF2-40B4-BE49-F238E27FC236}">
                <a16:creationId xmlns:a16="http://schemas.microsoft.com/office/drawing/2014/main" id="{C482619B-8530-7CB3-B69C-F01BEE238DCC}"/>
              </a:ext>
            </a:extLst>
          </p:cNvPr>
          <p:cNvGrpSpPr/>
          <p:nvPr userDrawn="1"/>
        </p:nvGrpSpPr>
        <p:grpSpPr>
          <a:xfrm>
            <a:off x="5022658" y="5122009"/>
            <a:ext cx="2146684" cy="488226"/>
            <a:chOff x="4973314" y="5122009"/>
            <a:chExt cx="2146684" cy="488226"/>
          </a:xfrm>
        </p:grpSpPr>
        <p:pic>
          <p:nvPicPr>
            <p:cNvPr id="12" name="Graphique 11">
              <a:extLst>
                <a:ext uri="{FF2B5EF4-FFF2-40B4-BE49-F238E27FC236}">
                  <a16:creationId xmlns:a16="http://schemas.microsoft.com/office/drawing/2014/main" id="{C3C85ED0-EB66-ECEF-A4F4-A6EB6A451BE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973314" y="5141958"/>
              <a:ext cx="468277" cy="468277"/>
            </a:xfrm>
            <a:prstGeom prst="rect">
              <a:avLst/>
            </a:prstGeom>
          </p:spPr>
        </p:pic>
        <p:pic>
          <p:nvPicPr>
            <p:cNvPr id="13" name="Graphique 12">
              <a:extLst>
                <a:ext uri="{FF2B5EF4-FFF2-40B4-BE49-F238E27FC236}">
                  <a16:creationId xmlns:a16="http://schemas.microsoft.com/office/drawing/2014/main" id="{BA7888D2-B8E7-B8C0-833F-8C9BA4BE1E0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092252" y="5122009"/>
              <a:ext cx="468277" cy="468277"/>
            </a:xfrm>
            <a:prstGeom prst="rect">
              <a:avLst/>
            </a:prstGeom>
          </p:spPr>
        </p:pic>
        <p:pic>
          <p:nvPicPr>
            <p:cNvPr id="15" name="Graphique 14">
              <a:extLst>
                <a:ext uri="{FF2B5EF4-FFF2-40B4-BE49-F238E27FC236}">
                  <a16:creationId xmlns:a16="http://schemas.microsoft.com/office/drawing/2014/main" id="{E67E4FE4-9F47-2924-67F6-2C449944595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532783" y="5141958"/>
              <a:ext cx="468277" cy="468277"/>
            </a:xfrm>
            <a:prstGeom prst="rect">
              <a:avLst/>
            </a:prstGeom>
          </p:spPr>
        </p:pic>
        <p:pic>
          <p:nvPicPr>
            <p:cNvPr id="17" name="Graphique 16">
              <a:extLst>
                <a:ext uri="{FF2B5EF4-FFF2-40B4-BE49-F238E27FC236}">
                  <a16:creationId xmlns:a16="http://schemas.microsoft.com/office/drawing/2014/main" id="{2D77E4D7-5A50-62B4-ABA1-A142A07F7D2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651721" y="5141957"/>
              <a:ext cx="468277" cy="46827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147759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3FAC11-59E2-46DC-899B-5B2DD37215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ED0AB029-F113-479F-B147-F75FF9C32CF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9D47D57-EF8D-4537-BF86-D906E00D37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52E0323-2A6C-4542-9393-FC84BF82C6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10C6F-2457-43BF-BDD6-2AB3FC28C7B2}" type="datetimeFigureOut">
              <a:rPr lang="de-CH" smtClean="0"/>
              <a:t>23.04.24</a:t>
            </a:fld>
            <a:endParaRPr lang="de-CH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441AB07-0628-42F0-AC84-5D62A0D071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8F126C4-D504-4960-8DA4-403DF91470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CBDF7F-2714-4EC2-8170-CD125162812E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749096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7E4B83-CA1C-42F5-90B1-1E8653303F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E94EC37D-9AF2-436E-9F60-95F81A83BDA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97C5C22-D1E3-41E1-B809-A02A90DF34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10C6F-2457-43BF-BDD6-2AB3FC28C7B2}" type="datetimeFigureOut">
              <a:rPr lang="de-CH" smtClean="0"/>
              <a:t>23.04.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2004CD7-5181-4AD0-B9DA-4B18EA342A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4BDBBC8-68CD-43A6-8044-8545AA0188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CBDF7F-2714-4EC2-8170-CD125162812E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7121043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D28073F6-34AA-4E4D-82B8-295268C183D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2B77DB2F-D257-44A1-9F03-7A2B2225896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4D02D07-6508-4110-93EE-6C019FB306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910C6F-2457-43BF-BDD6-2AB3FC28C7B2}" type="datetimeFigureOut">
              <a:rPr lang="de-CH" smtClean="0"/>
              <a:t>23.04.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9FA9821-0F03-45C1-8881-4783910F18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134D475-DC08-488B-913D-42930EC56C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CBDF7F-2714-4EC2-8170-CD125162812E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674077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emplate_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407FE89-08DC-3542-B751-1572C5BAEAE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5400" b="1" i="0">
                <a:solidFill>
                  <a:srgbClr val="91CB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LOREM IPSUM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06FD7AF3-89C0-3A44-A75E-835B3872B4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477837"/>
          </a:xfrm>
        </p:spPr>
        <p:txBody>
          <a:bodyPr/>
          <a:lstStyle>
            <a:lvl1pPr marL="0" indent="0" algn="ctr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B46ED08-B34E-1D44-85CF-972605D67E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C3CFE-11D2-9E4D-B700-59E0E3AAC8F2}" type="datetimeFigureOut">
              <a:rPr lang="en-GB" smtClean="0"/>
              <a:t>23/04/2024</a:t>
            </a:fld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7EF1F25-6BB9-AF45-86D2-8DBA6E1A37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4D1B62F-8B1E-8A42-AB23-378B508495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B0DC6-0311-9D4C-8333-A8862636E7AD}" type="slidenum">
              <a:rPr lang="en-GB" smtClean="0"/>
              <a:t>‹Nr.›</a:t>
            </a:fld>
            <a:endParaRPr lang="en-GB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CD2B3C72-A402-BA4F-A6B1-4EAAC9EB43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4000" y="4211638"/>
            <a:ext cx="9144000" cy="565150"/>
          </a:xfrm>
        </p:spPr>
        <p:txBody>
          <a:bodyPr anchor="ctr"/>
          <a:lstStyle>
            <a:lvl1pPr marL="0" indent="0" algn="ctr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/>
            </a:lvl2pPr>
          </a:lstStyle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50674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in template_Title&amp;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C28618D-6FBD-AD4F-8D43-E09890CBEF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4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LOREM IPSUM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BE44464-339C-4640-A68F-AD5FAC0DB85D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1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2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3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4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78A20ED-7568-AC40-8952-FE2ACB258D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C3CFE-11D2-9E4D-B700-59E0E3AAC8F2}" type="datetimeFigureOut">
              <a:rPr lang="en-GB" smtClean="0"/>
              <a:t>23/04/2024</a:t>
            </a:fld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C4500258-EA4E-8244-8D0A-94550C2F7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4F6F189-3884-AB4B-A72D-2202C1429E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B0DC6-0311-9D4C-8333-A8862636E7A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45862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Main template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7CE7CD7-DB5D-6A40-ACD5-C35A21F61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3D52C39-BB30-6740-9299-C9236312A9D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3301199-6207-5A40-BB46-33D9E5B4C5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C3CFE-11D2-9E4D-B700-59E0E3AAC8F2}" type="datetimeFigureOut">
              <a:rPr lang="en-GB" smtClean="0"/>
              <a:t>23/04/2024</a:t>
            </a:fld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D21923F-2440-D044-BBE2-B2CA12025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989BA16-8F1A-C34E-9C84-B9AF908455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B0DC6-0311-9D4C-8333-A8862636E7A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86246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Main template_Double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620E601-BA9B-EF45-9E00-FFD77A65C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fr-FR"/>
              <a:t>Lorem ipsum 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6296D85-979F-BB45-9B07-BA1E654D0CD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1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2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3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4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en-GB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5BF0CB8-B63B-414F-BB1E-9EB769BC562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1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2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3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4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en-GB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3E0B143-3821-DF40-AEEB-D8F90BF30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C3CFE-11D2-9E4D-B700-59E0E3AAC8F2}" type="datetimeFigureOut">
              <a:rPr lang="en-GB" smtClean="0"/>
              <a:t>23/04/2024</a:t>
            </a:fld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3C18C91-4470-4D49-BB15-B7B8ABD9FD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04BF901-F9CD-E64E-9DE8-D5EA897882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B0DC6-0311-9D4C-8333-A8862636E7A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85668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Main template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21C9F66-6A3A-5F49-B1FF-8E71DC5310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10515600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fr-FR"/>
              <a:t>Lorem ipsum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53C897B-2D16-214E-9BDE-F8ABFFEB40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DE023F1-3872-C248-8717-FAC096DE1C2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1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2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3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4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en-GB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76801364-1D24-D745-9044-9A1AA3987D0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spum</a:t>
            </a:r>
            <a:endParaRPr lang="fr-FR"/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5F52A86E-9CA1-AD43-B6A5-0A405E9C31EB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1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2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3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4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en-GB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87E7B6AE-E6DB-A64E-BAEC-298675A83F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C3CFE-11D2-9E4D-B700-59E0E3AAC8F2}" type="datetimeFigureOut">
              <a:rPr lang="en-GB" smtClean="0"/>
              <a:t>23/04/2024</a:t>
            </a:fld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957D2261-BCA3-9144-8201-FE696F6AC2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6E6198D3-38B6-DF40-926F-C6044CECF2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B0DC6-0311-9D4C-8333-A8862636E7A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413542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Main template_Title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3D91BF3-1C86-1D41-8AA6-80AD57F033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fr-FR"/>
              <a:t>Lorem ipsum</a:t>
            </a:r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DBF1BB0B-EFC6-8E42-A8E3-9A089515C6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C3CFE-11D2-9E4D-B700-59E0E3AAC8F2}" type="datetimeFigureOut">
              <a:rPr lang="en-GB" smtClean="0"/>
              <a:t>23/04/2024</a:t>
            </a:fld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7F4F73F-5F01-B84F-B317-BD366780B6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C881AA6-8DCC-CD44-AFF6-7380644689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B0DC6-0311-9D4C-8333-A8862636E7A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044591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in template_Contentwith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E7889BC-ED61-D042-91A5-2E94EA700C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D6659DE-712A-E14B-A4B9-BEFCCB48DD1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lnSpc>
                <a:spcPct val="100000"/>
              </a:lnSpc>
              <a:defRPr sz="3200"/>
            </a:lvl1pPr>
            <a:lvl2pPr>
              <a:lnSpc>
                <a:spcPct val="100000"/>
              </a:lnSpc>
              <a:defRPr sz="2800"/>
            </a:lvl2pPr>
            <a:lvl3pPr>
              <a:lnSpc>
                <a:spcPct val="100000"/>
              </a:lnSpc>
              <a:defRPr sz="2400"/>
            </a:lvl3pPr>
            <a:lvl4pPr>
              <a:lnSpc>
                <a:spcPct val="100000"/>
              </a:lnSpc>
              <a:defRPr sz="2000"/>
            </a:lvl4pPr>
            <a:lvl5pPr>
              <a:lnSpc>
                <a:spcPct val="100000"/>
              </a:lnSpc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1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2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3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4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en-GB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E311ABB-90F0-E248-BFD1-72DF6391DB2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C338793A-330E-B64D-8C79-83DAD9F53C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C3CFE-11D2-9E4D-B700-59E0E3AAC8F2}" type="datetimeFigureOut">
              <a:rPr lang="en-GB" smtClean="0"/>
              <a:t>23/04/2024</a:t>
            </a:fld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7475C8B-8BA7-FE4B-9EA6-9B03D60FA1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3C1F301F-BCD5-5A45-A4BB-C5162AAE7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B0DC6-0311-9D4C-8333-A8862636E7A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104457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C04BE12B-222A-E03C-0F02-EBCC53644F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53532" y="2012951"/>
            <a:ext cx="6484936" cy="49010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1">
                <a:solidFill>
                  <a:schemeClr val="bg2"/>
                </a:solidFill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fr-FR"/>
              <a:t>SUR TITRE</a:t>
            </a:r>
            <a:endParaRPr lang="fr-BE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BCB0E257-B783-CD59-EBC7-3500459186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53532" y="2669166"/>
            <a:ext cx="6484937" cy="105308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  <a:endParaRPr lang="fr-BE"/>
          </a:p>
        </p:txBody>
      </p:sp>
      <p:pic>
        <p:nvPicPr>
          <p:cNvPr id="5" name="Graphique 4">
            <a:extLst>
              <a:ext uri="{FF2B5EF4-FFF2-40B4-BE49-F238E27FC236}">
                <a16:creationId xmlns:a16="http://schemas.microsoft.com/office/drawing/2014/main" id="{609E2CDF-E1F6-D747-961F-776563001E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472448" y="628869"/>
            <a:ext cx="1247103" cy="942108"/>
          </a:xfrm>
          <a:prstGeom prst="rect">
            <a:avLst/>
          </a:prstGeom>
        </p:spPr>
      </p:pic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C592C4D3-9644-BF76-5002-32CAF20140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853531" y="4008438"/>
            <a:ext cx="6484937" cy="1625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62405320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Main template_Imagewith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C9871FB-FBD3-CD40-8C6A-DD7D9F323F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en-GB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BE09DB8-4698-F749-82DC-5EA318955C86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en-GB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C578E32-5555-6F4D-B3F1-577233F21F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33535D87-CC2B-FC4F-84BA-EA3960D2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C3CFE-11D2-9E4D-B700-59E0E3AAC8F2}" type="datetimeFigureOut">
              <a:rPr lang="en-GB" smtClean="0"/>
              <a:t>23/04/2024</a:t>
            </a:fld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FD54A7C-909C-5C4C-B833-C8E09EC1D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7945F54E-03A9-1047-904F-19F89C0D32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B0DC6-0311-9D4C-8333-A8862636E7A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6471601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emplate - 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D3BF5000-F41F-F54B-8196-36BA930CDB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2863" y="2843367"/>
            <a:ext cx="154728" cy="300078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B673FC19-D1A3-A342-81B2-EFE6736613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7489" y="2843367"/>
            <a:ext cx="300078" cy="30007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F7D6B1B-3AA9-D447-B0FA-A8B4CBEEF5A7}"/>
              </a:ext>
            </a:extLst>
          </p:cNvPr>
          <p:cNvSpPr/>
          <p:nvPr userDrawn="1"/>
        </p:nvSpPr>
        <p:spPr>
          <a:xfrm>
            <a:off x="4328905" y="3550198"/>
            <a:ext cx="332655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1800" b="0" i="0" u="none">
                <a:solidFill>
                  <a:srgbClr val="0A1D3E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ttps://rail-research.europa.eu</a:t>
            </a:r>
            <a:endParaRPr lang="en-GB" sz="1800" b="0" i="0" u="none">
              <a:solidFill>
                <a:srgbClr val="0A1D3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Image 11" descr="Une image contenant dessin&#10;&#10;Description générée automatiquement">
            <a:extLst>
              <a:ext uri="{FF2B5EF4-FFF2-40B4-BE49-F238E27FC236}">
                <a16:creationId xmlns:a16="http://schemas.microsoft.com/office/drawing/2014/main" id="{6ED5DA08-91DE-F742-AF4D-EA1293D63AD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2032" y="2901006"/>
            <a:ext cx="432000" cy="43200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2E41240E-0E8F-2140-A6E9-D5870003F3E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5979" y="2901006"/>
            <a:ext cx="432000" cy="432000"/>
          </a:xfrm>
          <a:prstGeom prst="rect">
            <a:avLst/>
          </a:prstGeom>
        </p:spPr>
      </p:pic>
      <p:pic>
        <p:nvPicPr>
          <p:cNvPr id="14" name="Image 13" descr="Une image contenant dessin&#10;&#10;Description générée automatiquement">
            <a:extLst>
              <a:ext uri="{FF2B5EF4-FFF2-40B4-BE49-F238E27FC236}">
                <a16:creationId xmlns:a16="http://schemas.microsoft.com/office/drawing/2014/main" id="{6BED62E0-88C6-FB4B-B2C4-50EDA05CF05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2612" y="2901006"/>
            <a:ext cx="432000" cy="432000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31A21A61-3B99-3A43-9B0B-AA56D446B7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9003" y="2901478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73636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emplate_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407FE89-08DC-3542-B751-1572C5BAEAE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5400" b="1" i="0">
                <a:solidFill>
                  <a:srgbClr val="91CB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LOREM IPSUM</a:t>
            </a:r>
            <a:endParaRPr lang="en-GB"/>
          </a:p>
        </p:txBody>
      </p:sp>
      <p:sp>
        <p:nvSpPr>
          <p:cNvPr id="3" name="Sous-titre 2">
            <a:extLst>
              <a:ext uri="{FF2B5EF4-FFF2-40B4-BE49-F238E27FC236}">
                <a16:creationId xmlns:a16="http://schemas.microsoft.com/office/drawing/2014/main" id="{06FD7AF3-89C0-3A44-A75E-835B3872B44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477837"/>
          </a:xfrm>
        </p:spPr>
        <p:txBody>
          <a:bodyPr/>
          <a:lstStyle>
            <a:lvl1pPr marL="0" indent="0" algn="ctr">
              <a:buNone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0B46ED08-B34E-1D44-85CF-972605D67E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C3CFE-11D2-9E4D-B700-59E0E3AAC8F2}" type="datetimeFigureOut">
              <a:rPr lang="en-GB" smtClean="0"/>
              <a:t>23/04/2024</a:t>
            </a:fld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7EF1F25-6BB9-AF45-86D2-8DBA6E1A37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4D1B62F-8B1E-8A42-AB23-378B508495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B0DC6-0311-9D4C-8333-A8862636E7AD}" type="slidenum">
              <a:rPr lang="en-GB" smtClean="0"/>
              <a:t>‹Nr.›</a:t>
            </a:fld>
            <a:endParaRPr lang="en-GB"/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CD2B3C72-A402-BA4F-A6B1-4EAAC9EB43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4000" y="4211638"/>
            <a:ext cx="9144000" cy="565150"/>
          </a:xfrm>
        </p:spPr>
        <p:txBody>
          <a:bodyPr anchor="ctr"/>
          <a:lstStyle>
            <a:lvl1pPr marL="0" indent="0" algn="ctr">
              <a:buNone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/>
            </a:lvl2pPr>
          </a:lstStyle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091124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Main template_Title&amp;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C28618D-6FBD-AD4F-8D43-E09890CBEF3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21582"/>
            <a:ext cx="10515600" cy="1325563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r-FR"/>
              <a:t>LOREM IPSUM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BE44464-339C-4640-A68F-AD5FAC0DB85D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1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2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3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4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278A20ED-7568-AC40-8952-FE2ACB258D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C3CFE-11D2-9E4D-B700-59E0E3AAC8F2}" type="datetimeFigureOut">
              <a:rPr lang="en-GB" smtClean="0"/>
              <a:t>23/04/2024</a:t>
            </a:fld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C4500258-EA4E-8244-8D0A-94550C2F7C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B4F6F189-3884-AB4B-A72D-2202C1429E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B0DC6-0311-9D4C-8333-A8862636E7A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735080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Main template_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7CE7CD7-DB5D-6A40-ACD5-C35A21F610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3D52C39-BB30-6740-9299-C9236312A9D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3301199-6207-5A40-BB46-33D9E5B4C5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C3CFE-11D2-9E4D-B700-59E0E3AAC8F2}" type="datetimeFigureOut">
              <a:rPr lang="en-GB" smtClean="0"/>
              <a:t>23/04/2024</a:t>
            </a:fld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D21923F-2440-D044-BBE2-B2CA12025E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989BA16-8F1A-C34E-9C84-B9AF908455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B0DC6-0311-9D4C-8333-A8862636E7A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19039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 1">
            <a:extLst>
              <a:ext uri="{FF2B5EF4-FFF2-40B4-BE49-F238E27FC236}">
                <a16:creationId xmlns:a16="http://schemas.microsoft.com/office/drawing/2014/main" id="{B9663AB1-DC11-CD41-A7C1-4538AABDEC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29" t="8772" r="3170" b="10932"/>
          <a:stretch/>
        </p:blipFill>
        <p:spPr>
          <a:xfrm>
            <a:off x="1542047" y="794084"/>
            <a:ext cx="9107905" cy="5506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5541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Main template_Double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620E601-BA9B-EF45-9E00-FFD77A65C0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6296D85-979F-BB45-9B07-BA1E654D0CD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1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2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3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4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en-GB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5BF0CB8-B63B-414F-BB1E-9EB769BC562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1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2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3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4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en-GB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D3E0B143-3821-DF40-AEEB-D8F90BF30B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C3CFE-11D2-9E4D-B700-59E0E3AAC8F2}" type="datetimeFigureOut">
              <a:rPr lang="en-GB" smtClean="0"/>
              <a:t>23/04/2024</a:t>
            </a:fld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93C18C91-4470-4D49-BB15-B7B8ABD9FD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C04BF901-F9CD-E64E-9DE8-D5EA897882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B0DC6-0311-9D4C-8333-A8862636E7A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55324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Main template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21C9F66-6A3A-5F49-B1FF-8E71DC5310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F53C897B-2D16-214E-9BDE-F8ABFFEB40F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DE023F1-3872-C248-8717-FAC096DE1C2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1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2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3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4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en-GB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76801364-1D24-D745-9044-9A1AA3987D0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ctr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spum</a:t>
            </a:r>
            <a:endParaRPr lang="fr-FR"/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5F52A86E-9CA1-AD43-B6A5-0A405E9C31EB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1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2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3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4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en-GB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87E7B6AE-E6DB-A64E-BAEC-298675A83F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C3CFE-11D2-9E4D-B700-59E0E3AAC8F2}" type="datetimeFigureOut">
              <a:rPr lang="en-GB" smtClean="0"/>
              <a:t>23/04/2024</a:t>
            </a:fld>
            <a:endParaRPr lang="en-GB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957D2261-BCA3-9144-8201-FE696F6AC2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6E6198D3-38B6-DF40-926F-C6044CECF2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B0DC6-0311-9D4C-8333-A8862636E7A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729957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Main template_Titleal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3D91BF3-1C86-1D41-8AA6-80AD57F033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en-GB"/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DBF1BB0B-EFC6-8E42-A8E3-9A089515C6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C3CFE-11D2-9E4D-B700-59E0E3AAC8F2}" type="datetimeFigureOut">
              <a:rPr lang="en-GB" smtClean="0"/>
              <a:t>23/04/2024</a:t>
            </a:fld>
            <a:endParaRPr lang="en-GB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77F4F73F-5F01-B84F-B317-BD366780B6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C881AA6-8DCC-CD44-AFF6-7380644689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B0DC6-0311-9D4C-8333-A8862636E7A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846597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Main template_Contentwith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E7889BC-ED61-D042-91A5-2E94EA700C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en-GB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3D6659DE-712A-E14B-A4B9-BEFCCB48DD1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1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2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3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4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en-GB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0E311ABB-90F0-E248-BFD1-72DF6391DB2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C338793A-330E-B64D-8C79-83DAD9F53C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C3CFE-11D2-9E4D-B700-59E0E3AAC8F2}" type="datetimeFigureOut">
              <a:rPr lang="en-GB" smtClean="0"/>
              <a:t>23/04/2024</a:t>
            </a:fld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F7475C8B-8BA7-FE4B-9EA6-9B03D60FA1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3C1F301F-BCD5-5A45-A4BB-C5162AAE70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B0DC6-0311-9D4C-8333-A8862636E7A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94201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C04BE12B-222A-E03C-0F02-EBCC53644F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853532" y="2400878"/>
            <a:ext cx="6484936" cy="49010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600" b="1">
                <a:solidFill>
                  <a:schemeClr val="bg1"/>
                </a:solidFill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fr-FR"/>
              <a:t>SUR TITRE</a:t>
            </a:r>
            <a:endParaRPr lang="fr-BE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BCB0E257-B783-CD59-EBC7-3500459186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853532" y="3057093"/>
            <a:ext cx="6484937" cy="105308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fr-FR"/>
              <a:t>Cliquez pour modifier les styles du texte du masque</a:t>
            </a:r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84675720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Main template_Imagewith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C9871FB-FBD3-CD40-8C6A-DD7D9F323F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en-GB"/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ABE09DB8-4698-F749-82DC-5EA318955C86}"/>
              </a:ext>
            </a:extLst>
          </p:cNvPr>
          <p:cNvSpPr>
            <a:spLocks noGrp="1"/>
          </p:cNvSpPr>
          <p:nvPr>
            <p:ph type="pic" idx="1" hasCustomPrompt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en-GB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6C578E32-5555-6F4D-B3F1-577233F21F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33535D87-CC2B-FC4F-84BA-EA3960D257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AC3CFE-11D2-9E4D-B700-59E0E3AAC8F2}" type="datetimeFigureOut">
              <a:rPr lang="en-GB" smtClean="0"/>
              <a:t>23/04/2024</a:t>
            </a:fld>
            <a:endParaRPr lang="en-GB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AFD54A7C-909C-5C4C-B833-C8E09EC1D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DRAFT 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7945F54E-03A9-1047-904F-19F89C0D32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BB0DC6-0311-9D4C-8333-A8862636E7AD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360264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emplate - 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D3BF5000-F41F-F54B-8196-36BA930CDB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2863" y="2843367"/>
            <a:ext cx="154728" cy="300078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:a16="http://schemas.microsoft.com/office/drawing/2014/main" id="{B673FC19-D1A3-A342-81B2-EFE67366134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7489" y="2843367"/>
            <a:ext cx="300078" cy="30007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F7D6B1B-3AA9-D447-B0FA-A8B4CBEEF5A7}"/>
              </a:ext>
            </a:extLst>
          </p:cNvPr>
          <p:cNvSpPr/>
          <p:nvPr userDrawn="1"/>
        </p:nvSpPr>
        <p:spPr>
          <a:xfrm>
            <a:off x="4918810" y="3550198"/>
            <a:ext cx="21467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1800" b="0" i="0" u="none">
                <a:solidFill>
                  <a:srgbClr val="0A1D3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IFT2RAIL.ORG </a:t>
            </a:r>
            <a:endParaRPr lang="en-GB" sz="1800" b="0" i="0" u="none">
              <a:solidFill>
                <a:srgbClr val="0A1D3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Image 11" descr="Une image contenant dessin&#10;&#10;Description générée automatiquement">
            <a:extLst>
              <a:ext uri="{FF2B5EF4-FFF2-40B4-BE49-F238E27FC236}">
                <a16:creationId xmlns:a16="http://schemas.microsoft.com/office/drawing/2014/main" id="{6ED5DA08-91DE-F742-AF4D-EA1293D63AD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2032" y="2901006"/>
            <a:ext cx="432000" cy="432000"/>
          </a:xfrm>
          <a:prstGeom prst="rect">
            <a:avLst/>
          </a:prstGeom>
        </p:spPr>
      </p:pic>
      <p:pic>
        <p:nvPicPr>
          <p:cNvPr id="13" name="Image 12">
            <a:extLst>
              <a:ext uri="{FF2B5EF4-FFF2-40B4-BE49-F238E27FC236}">
                <a16:creationId xmlns:a16="http://schemas.microsoft.com/office/drawing/2014/main" id="{2E41240E-0E8F-2140-A6E9-D5870003F3E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5979" y="2901006"/>
            <a:ext cx="432000" cy="432000"/>
          </a:xfrm>
          <a:prstGeom prst="rect">
            <a:avLst/>
          </a:prstGeom>
        </p:spPr>
      </p:pic>
      <p:pic>
        <p:nvPicPr>
          <p:cNvPr id="14" name="Image 13" descr="Une image contenant dessin&#10;&#10;Description générée automatiquement">
            <a:extLst>
              <a:ext uri="{FF2B5EF4-FFF2-40B4-BE49-F238E27FC236}">
                <a16:creationId xmlns:a16="http://schemas.microsoft.com/office/drawing/2014/main" id="{6BED62E0-88C6-FB4B-B2C4-50EDA05CF05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2612" y="2901006"/>
            <a:ext cx="432000" cy="432000"/>
          </a:xfrm>
          <a:prstGeom prst="rect">
            <a:avLst/>
          </a:prstGeom>
        </p:spPr>
      </p:pic>
      <p:pic>
        <p:nvPicPr>
          <p:cNvPr id="15" name="Image 14">
            <a:extLst>
              <a:ext uri="{FF2B5EF4-FFF2-40B4-BE49-F238E27FC236}">
                <a16:creationId xmlns:a16="http://schemas.microsoft.com/office/drawing/2014/main" id="{31A21A61-3B99-3A43-9B0B-AA56D446B70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59003" y="2901478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8206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que 3">
            <a:extLst>
              <a:ext uri="{FF2B5EF4-FFF2-40B4-BE49-F238E27FC236}">
                <a16:creationId xmlns:a16="http://schemas.microsoft.com/office/drawing/2014/main" id="{DCA28714-D0A9-40E6-1BAD-994F8393C1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412467" y="628869"/>
            <a:ext cx="1367065" cy="1032733"/>
          </a:xfrm>
          <a:prstGeom prst="rect">
            <a:avLst/>
          </a:prstGeom>
        </p:spPr>
      </p:pic>
      <p:sp>
        <p:nvSpPr>
          <p:cNvPr id="5" name="ZoneTexte 4">
            <a:extLst>
              <a:ext uri="{FF2B5EF4-FFF2-40B4-BE49-F238E27FC236}">
                <a16:creationId xmlns:a16="http://schemas.microsoft.com/office/drawing/2014/main" id="{450922DB-A80D-10CB-EA8C-7DE95BDF1F8E}"/>
              </a:ext>
            </a:extLst>
          </p:cNvPr>
          <p:cNvSpPr txBox="1"/>
          <p:nvPr userDrawn="1"/>
        </p:nvSpPr>
        <p:spPr>
          <a:xfrm>
            <a:off x="4311213" y="3030100"/>
            <a:ext cx="356957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hite Atrium Building, 2nd Floor </a:t>
            </a:r>
          </a:p>
          <a:p>
            <a:pPr algn="ctr"/>
            <a:r>
              <a:rPr lang="en-US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venue de la </a:t>
            </a:r>
            <a:r>
              <a:rPr lang="en-US" err="1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oison</a:t>
            </a:r>
            <a:r>
              <a:rPr lang="en-US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d’Or 56-60</a:t>
            </a:r>
          </a:p>
          <a:p>
            <a:pPr algn="ctr"/>
            <a:r>
              <a:rPr lang="en-US">
                <a:ln>
                  <a:noFill/>
                </a:ln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1060, Brussels - Belgium</a:t>
            </a:r>
            <a:endParaRPr lang="fr-BE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EFAEC5DD-9139-639C-3B62-5507098F4889}"/>
              </a:ext>
            </a:extLst>
          </p:cNvPr>
          <p:cNvSpPr txBox="1"/>
          <p:nvPr userDrawn="1"/>
        </p:nvSpPr>
        <p:spPr>
          <a:xfrm>
            <a:off x="4311213" y="4117560"/>
            <a:ext cx="35695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b="0" i="0">
                <a:solidFill>
                  <a:schemeClr val="bg1"/>
                </a:solidFill>
                <a:effectLst/>
                <a:latin typeface="Arial" panose="020B0604020202020204" pitchFamily="34" charset="0"/>
                <a:hlinkClick r:id="rId4" tooltip="Cliquez pour ouvrir une nouvelle fenêtre ou onglet&#10;https://eur06.safelinks.protection.outlook.com/?url=http%3A%2F%2Fwww.rail-research.europa.eu%2F&amp;data=05%7C01%7C%7C6a04a5d6bd9d4e4fb10808da29def965...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rail-research.europa.eu</a:t>
            </a:r>
            <a:endParaRPr lang="fr-BE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Sous-titre 2">
            <a:extLst>
              <a:ext uri="{FF2B5EF4-FFF2-40B4-BE49-F238E27FC236}">
                <a16:creationId xmlns:a16="http://schemas.microsoft.com/office/drawing/2014/main" id="{59C2BE2C-305C-83C3-129D-225228DF49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974109" y="2009356"/>
            <a:ext cx="6243782" cy="542668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fr-FR" sz="5400" b="1">
                <a:solidFill>
                  <a:srgbClr val="97C62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ontact us</a:t>
            </a:r>
            <a:endParaRPr lang="fr-BE" sz="5400">
              <a:solidFill>
                <a:srgbClr val="97C62E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Groupe 7">
            <a:extLst>
              <a:ext uri="{FF2B5EF4-FFF2-40B4-BE49-F238E27FC236}">
                <a16:creationId xmlns:a16="http://schemas.microsoft.com/office/drawing/2014/main" id="{8C7E08ED-2EDA-1C0F-9BAE-369D1513CBFD}"/>
              </a:ext>
            </a:extLst>
          </p:cNvPr>
          <p:cNvGrpSpPr/>
          <p:nvPr userDrawn="1"/>
        </p:nvGrpSpPr>
        <p:grpSpPr>
          <a:xfrm>
            <a:off x="5022658" y="5122009"/>
            <a:ext cx="2146684" cy="488226"/>
            <a:chOff x="4973314" y="5122009"/>
            <a:chExt cx="2146684" cy="488226"/>
          </a:xfrm>
        </p:grpSpPr>
        <p:pic>
          <p:nvPicPr>
            <p:cNvPr id="9" name="Graphique 8">
              <a:extLst>
                <a:ext uri="{FF2B5EF4-FFF2-40B4-BE49-F238E27FC236}">
                  <a16:creationId xmlns:a16="http://schemas.microsoft.com/office/drawing/2014/main" id="{0B097F5C-F1C7-7CF7-F1D6-20F3DADD6FC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973314" y="5141958"/>
              <a:ext cx="468277" cy="468277"/>
            </a:xfrm>
            <a:prstGeom prst="rect">
              <a:avLst/>
            </a:prstGeom>
          </p:spPr>
        </p:pic>
        <p:pic>
          <p:nvPicPr>
            <p:cNvPr id="10" name="Graphique 9">
              <a:extLst>
                <a:ext uri="{FF2B5EF4-FFF2-40B4-BE49-F238E27FC236}">
                  <a16:creationId xmlns:a16="http://schemas.microsoft.com/office/drawing/2014/main" id="{41E1A4CB-0CA6-F5F2-48C7-FE24ED40667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092252" y="5122009"/>
              <a:ext cx="468277" cy="468277"/>
            </a:xfrm>
            <a:prstGeom prst="rect">
              <a:avLst/>
            </a:prstGeom>
          </p:spPr>
        </p:pic>
        <p:pic>
          <p:nvPicPr>
            <p:cNvPr id="11" name="Graphique 10">
              <a:extLst>
                <a:ext uri="{FF2B5EF4-FFF2-40B4-BE49-F238E27FC236}">
                  <a16:creationId xmlns:a16="http://schemas.microsoft.com/office/drawing/2014/main" id="{812DF138-FF2A-9ACA-69CD-C6EC3657E1A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532783" y="5141958"/>
              <a:ext cx="468277" cy="468277"/>
            </a:xfrm>
            <a:prstGeom prst="rect">
              <a:avLst/>
            </a:prstGeom>
          </p:spPr>
        </p:pic>
        <p:pic>
          <p:nvPicPr>
            <p:cNvPr id="12" name="Graphique 11">
              <a:extLst>
                <a:ext uri="{FF2B5EF4-FFF2-40B4-BE49-F238E27FC236}">
                  <a16:creationId xmlns:a16="http://schemas.microsoft.com/office/drawing/2014/main" id="{1AFACC2E-8014-955A-8456-8B1DA6EC0B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651721" y="5141957"/>
              <a:ext cx="468277" cy="46827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355254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BCB0E257-B783-CD59-EBC7-3500459186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0520" y="1030253"/>
            <a:ext cx="10670959" cy="73293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200" b="1"/>
            </a:lvl1pPr>
          </a:lstStyle>
          <a:p>
            <a:pPr algn="l"/>
            <a:r>
              <a:rPr lang="fr-FR" sz="3200" b="1" err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itle</a:t>
            </a:r>
            <a:r>
              <a:rPr lang="fr-FR" sz="3200" b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3200" b="1" err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xt</a:t>
            </a:r>
            <a:r>
              <a:rPr lang="fr-FR" sz="3200" b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lock.</a:t>
            </a:r>
            <a:endParaRPr lang="fr-BE" sz="3200">
              <a:solidFill>
                <a:srgbClr val="0C1D3E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C592C4D3-9644-BF76-5002-32CAF20140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63478" y="1935333"/>
            <a:ext cx="10670961" cy="445658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/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4760074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C04BE12B-222A-E03C-0F02-EBCC53644F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3495" y="1589305"/>
            <a:ext cx="6484936" cy="23091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1">
                <a:solidFill>
                  <a:srgbClr val="97C62E"/>
                </a:solidFill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fr-FR"/>
              <a:t>SUR TITRE</a:t>
            </a:r>
            <a:endParaRPr lang="fr-BE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BCB0E257-B783-CD59-EBC7-3500459186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3495" y="1962407"/>
            <a:ext cx="6484937" cy="105308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200" b="1"/>
            </a:lvl1pPr>
          </a:lstStyle>
          <a:p>
            <a:pPr algn="l"/>
            <a:r>
              <a:rPr lang="fr-FR" sz="3200" b="1" err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itle</a:t>
            </a:r>
            <a:r>
              <a:rPr lang="fr-FR" sz="3200" b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3200" b="1" err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xt</a:t>
            </a:r>
            <a:r>
              <a:rPr lang="fr-FR" sz="3200" b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lock.</a:t>
            </a:r>
            <a:endParaRPr lang="fr-BE" sz="3200">
              <a:solidFill>
                <a:srgbClr val="0C1D3E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C592C4D3-9644-BF76-5002-32CAF20140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23495" y="3157687"/>
            <a:ext cx="4877306" cy="338165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/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5" name="Espace réservé du texte 17">
            <a:extLst>
              <a:ext uri="{FF2B5EF4-FFF2-40B4-BE49-F238E27FC236}">
                <a16:creationId xmlns:a16="http://schemas.microsoft.com/office/drawing/2014/main" id="{6D0E4508-96DB-A771-CA1A-41DA60A2405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63531" y="3157686"/>
            <a:ext cx="4877306" cy="338165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/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6550658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C04BE12B-222A-E03C-0F02-EBCC53644F1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3495" y="1589305"/>
            <a:ext cx="4877306" cy="23091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1">
                <a:solidFill>
                  <a:srgbClr val="97C62E"/>
                </a:solidFill>
              </a:defRPr>
            </a:lvl1pPr>
            <a:lvl3pPr marL="914400" indent="0">
              <a:buNone/>
              <a:defRPr/>
            </a:lvl3pPr>
          </a:lstStyle>
          <a:p>
            <a:pPr lvl="0"/>
            <a:r>
              <a:rPr lang="fr-FR"/>
              <a:t>SUR TITRE</a:t>
            </a:r>
            <a:endParaRPr lang="fr-BE"/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BCB0E257-B783-CD59-EBC7-3500459186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523496" y="1962407"/>
            <a:ext cx="4877306" cy="105308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200" b="1"/>
            </a:lvl1pPr>
          </a:lstStyle>
          <a:p>
            <a:pPr algn="l"/>
            <a:r>
              <a:rPr lang="fr-FR" sz="3200" b="1" err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itle</a:t>
            </a:r>
            <a:r>
              <a:rPr lang="fr-FR" sz="3200" b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fr-FR" sz="3200" b="1" err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xt</a:t>
            </a:r>
            <a:r>
              <a:rPr lang="fr-FR" sz="3200" b="1">
                <a:solidFill>
                  <a:srgbClr val="0C1D3E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block &amp; photo.</a:t>
            </a:r>
            <a:endParaRPr lang="fr-BE" sz="3200">
              <a:solidFill>
                <a:srgbClr val="0C1D3E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6" name="Espace réservé du texte 17">
            <a:extLst>
              <a:ext uri="{FF2B5EF4-FFF2-40B4-BE49-F238E27FC236}">
                <a16:creationId xmlns:a16="http://schemas.microsoft.com/office/drawing/2014/main" id="{C592C4D3-9644-BF76-5002-32CAF20140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523495" y="3157687"/>
            <a:ext cx="4877306" cy="338165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00"/>
            </a:lvl1pPr>
            <a:lvl2pPr marL="457200" indent="0">
              <a:buNone/>
              <a:defRPr/>
            </a:lvl2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6DAE660F-185A-024D-FE17-309D90FA57A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32000" y="0"/>
            <a:ext cx="4860000" cy="6858000"/>
          </a:xfrm>
          <a:prstGeom prst="rect">
            <a:avLst/>
          </a:prstGeom>
        </p:spPr>
        <p:txBody>
          <a:bodyPr/>
          <a:lstStyle/>
          <a:p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751190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image" Target="../media/image19.svg"/><Relationship Id="rId5" Type="http://schemas.openxmlformats.org/officeDocument/2006/relationships/slideLayout" Target="../slideLayouts/slideLayout11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10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17.xml"/><Relationship Id="rId7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8.xml"/><Relationship Id="rId9" Type="http://schemas.openxmlformats.org/officeDocument/2006/relationships/image" Target="../media/image22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image" Target="../media/image24.png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image" Target="../media/image23.png"/><Relationship Id="rId5" Type="http://schemas.openxmlformats.org/officeDocument/2006/relationships/slideLayout" Target="../slideLayouts/slideLayout37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image" Target="../media/image23.png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43.xml"/><Relationship Id="rId16" Type="http://schemas.openxmlformats.org/officeDocument/2006/relationships/image" Target="../media/image32.png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46.xml"/><Relationship Id="rId15" Type="http://schemas.openxmlformats.org/officeDocument/2006/relationships/image" Target="../media/image31.emf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61878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8" r:id="rId2"/>
    <p:sldLayoutId id="2147483678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63023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67" r:id="rId2"/>
    <p:sldLayoutId id="214748367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0">
            <a:lum/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0159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87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8">
            <a:lum/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2821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CC3A9AFB-8722-4A14-9807-B16B78A361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6C0B3BE-6A49-42BB-B1A9-1A29365441E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8BC922D-E7BF-4B84-88D1-1726B3E4C4F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C910C6F-2457-43BF-BDD6-2AB3FC28C7B2}" type="datetimeFigureOut">
              <a:rPr lang="de-CH" smtClean="0"/>
              <a:t>23.04.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C032646-997B-489C-AA6D-2714DFA837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12E1C65-F645-46EF-AA4A-FB8E8443F9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6CBDF7F-2714-4EC2-8170-CD125162812E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59595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23" r:id="rId7"/>
    <p:sldLayoutId id="2147483718" r:id="rId8"/>
    <p:sldLayoutId id="2147483719" r:id="rId9"/>
    <p:sldLayoutId id="2147483720" r:id="rId10"/>
    <p:sldLayoutId id="2147483721" r:id="rId11"/>
    <p:sldLayoutId id="214748372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1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FC0FE500-C7DE-594C-92B8-BDDE39AC9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LOREM IPSUM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1CCE7E7-BEB9-104C-A61B-8FEB08F9C0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1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spum</a:t>
            </a:r>
            <a:endParaRPr lang="fr-FR"/>
          </a:p>
          <a:p>
            <a:pPr lvl="2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3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4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4E6298A-5762-214F-B411-742749A901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AC3CFE-11D2-9E4D-B700-59E0E3AAC8F2}" type="datetimeFigureOut">
              <a:rPr lang="en-GB" smtClean="0"/>
              <a:t>23/04/2024</a:t>
            </a:fld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80B38C-9B1C-D948-9C1F-5C2D25E06E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8C10109-55FE-C641-92A4-8A3B73DEAA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BB0DC6-0311-9D4C-8333-A8862636E7AD}" type="slidenum">
              <a:rPr lang="en-GB" smtClean="0"/>
              <a:t>‹Nr.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75F4C57-E1A6-404B-891F-F8596213D414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851573" y="136525"/>
            <a:ext cx="900020" cy="6802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40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rgbClr val="0A1D3E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A1D3E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0A1D3E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0A1D3E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A1D3E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A1D3E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3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0CB1A4D-B10C-4054-8913-E0DBBBA673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133311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592" imgH="595" progId="TCLayout.ActiveDocument.1">
                  <p:embed/>
                </p:oleObj>
              </mc:Choice>
              <mc:Fallback>
                <p:oleObj name="think-cell Folie" r:id="rId14" imgW="592" imgH="59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0CB1A4D-B10C-4054-8913-E0DBBBA673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FC0FE500-C7DE-594C-92B8-BDDE39AC9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LOREM IPSUM</a:t>
            </a:r>
            <a:endParaRPr lang="en-GB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E1CCE7E7-BEB9-104C-A61B-8FEB08F9C0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1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spum</a:t>
            </a:r>
            <a:endParaRPr lang="fr-FR"/>
          </a:p>
          <a:p>
            <a:pPr lvl="2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3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endParaRPr lang="fr-FR"/>
          </a:p>
          <a:p>
            <a:pPr lvl="4"/>
            <a:r>
              <a:rPr lang="fr-FR" err="1"/>
              <a:t>Lorem</a:t>
            </a:r>
            <a:r>
              <a:rPr lang="fr-FR"/>
              <a:t> </a:t>
            </a:r>
            <a:r>
              <a:rPr lang="fr-FR" err="1"/>
              <a:t>ipsum</a:t>
            </a:r>
            <a:r>
              <a:rPr lang="fr-FR"/>
              <a:t> </a:t>
            </a:r>
            <a:endParaRPr lang="en-GB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F4E6298A-5762-214F-B411-742749A9017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DAC3CFE-11D2-9E4D-B700-59E0E3AAC8F2}" type="datetimeFigureOut">
              <a:rPr lang="en-GB" smtClean="0"/>
              <a:t>23/04/2024</a:t>
            </a:fld>
            <a:endParaRPr lang="en-GB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A080B38C-9B1C-D948-9C1F-5C2D25E06E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GB"/>
              <a:t>DRAFT FOR DISCUSSION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C8C10109-55FE-C641-92A4-8A3B73DEAA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BB0DC6-0311-9D4C-8333-A8862636E7AD}" type="slidenum">
              <a:rPr lang="en-GB" smtClean="0"/>
              <a:t>‹Nr.›</a:t>
            </a:fld>
            <a:endParaRPr lang="en-GB"/>
          </a:p>
        </p:txBody>
      </p:sp>
      <p:pic>
        <p:nvPicPr>
          <p:cNvPr id="5122" name="Picture 2" descr="Shift2Rail logo">
            <a:extLst>
              <a:ext uri="{FF2B5EF4-FFF2-40B4-BE49-F238E27FC236}">
                <a16:creationId xmlns:a16="http://schemas.microsoft.com/office/drawing/2014/main" id="{5CD12E3E-BC4B-46B3-BEC2-BD0F9F8DF7C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3581" y="301906"/>
            <a:ext cx="960437" cy="72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03884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rgbClr val="0A1D3E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A1D3E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0A1D3E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0A1D3E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A1D3E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A1D3E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FB7F728-1FE2-4DBF-BF1E-D0ACD6CC557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/>
              <a:t>The CCS Migration to SERA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F3AAB8E-E5CE-4119-BAA6-2094BD0C074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IE"/>
              <a:t>ERA Conference, 23. April 2024</a:t>
            </a:r>
          </a:p>
        </p:txBody>
      </p:sp>
    </p:spTree>
    <p:extLst>
      <p:ext uri="{BB962C8B-B14F-4D97-AF65-F5344CB8AC3E}">
        <p14:creationId xmlns:p14="http://schemas.microsoft.com/office/powerpoint/2010/main" val="12023812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EBFCF1-2587-4BC9-A56B-8BCD854D6F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10</a:t>
            </a:fld>
            <a:endParaRPr lang="de-CH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78A3689F-A1B8-45B4-B7DE-FA981F019F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650" y="365127"/>
            <a:ext cx="7886700" cy="613820"/>
          </a:xfrm>
        </p:spPr>
        <p:txBody>
          <a:bodyPr lIns="91440" tIns="45720" rIns="91440" bIns="45720" anchor="t">
            <a:normAutofit/>
          </a:bodyPr>
          <a:lstStyle/>
          <a:p>
            <a:r>
              <a:rPr lang="en-GB" sz="3200" b="1" dirty="0"/>
              <a:t>Voting: ATO </a:t>
            </a:r>
            <a:r>
              <a:rPr lang="en-GB" sz="3200" b="1" dirty="0" err="1"/>
              <a:t>GoA</a:t>
            </a:r>
            <a:r>
              <a:rPr lang="en-GB" sz="3200" b="1" dirty="0"/>
              <a:t> 3/4</a:t>
            </a:r>
            <a:endParaRPr lang="en-GB" sz="1800" b="1" dirty="0">
              <a:solidFill>
                <a:srgbClr val="FF0000"/>
              </a:solidFill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FEB52D9-8B8D-2079-C7DF-BD49AFB9CD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3515" y="978947"/>
            <a:ext cx="10606314" cy="55634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7080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EBFCF1-2587-4BC9-A56B-8BCD854D6F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2</a:t>
            </a:fld>
            <a:endParaRPr lang="de-CH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78A3689F-A1B8-45B4-B7DE-FA981F019F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650" y="365127"/>
            <a:ext cx="7886700" cy="613820"/>
          </a:xfrm>
        </p:spPr>
        <p:txBody>
          <a:bodyPr lIns="91440" tIns="45720" rIns="91440" bIns="45720" anchor="t">
            <a:normAutofit/>
          </a:bodyPr>
          <a:lstStyle/>
          <a:p>
            <a:r>
              <a:rPr lang="en-GB" sz="3200" b="1"/>
              <a:t>“Migration”</a:t>
            </a:r>
            <a:endParaRPr lang="en-GB" sz="1800" b="1"/>
          </a:p>
        </p:txBody>
      </p:sp>
      <p:sp>
        <p:nvSpPr>
          <p:cNvPr id="3" name="TextBox 14">
            <a:extLst>
              <a:ext uri="{FF2B5EF4-FFF2-40B4-BE49-F238E27FC236}">
                <a16:creationId xmlns:a16="http://schemas.microsoft.com/office/drawing/2014/main" id="{30CF76B1-0529-0C9A-1CF4-E5A82E71B732}"/>
              </a:ext>
            </a:extLst>
          </p:cNvPr>
          <p:cNvSpPr txBox="1"/>
          <p:nvPr/>
        </p:nvSpPr>
        <p:spPr>
          <a:xfrm>
            <a:off x="1185219" y="1128127"/>
            <a:ext cx="8850447" cy="15908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28600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>
                <a:latin typeface="Arial"/>
                <a:ea typeface="Calibri"/>
                <a:cs typeface="Arial"/>
              </a:rPr>
              <a:t>Moving from current/legacy systems into the Migration Targets</a:t>
            </a:r>
          </a:p>
          <a:p>
            <a:pPr marL="228600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>
                <a:latin typeface="Arial"/>
                <a:ea typeface="Calibri" panose="020F0502020204030204" pitchFamily="34" charset="0"/>
                <a:cs typeface="Arial"/>
              </a:rPr>
              <a:t>In the end, migration is daily business for railways when introducing new market product today and integrate it locally</a:t>
            </a:r>
            <a:endParaRPr lang="en-GB" sz="200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28600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>
                <a:latin typeface="Arial"/>
                <a:ea typeface="Calibri"/>
                <a:cs typeface="Arial"/>
              </a:rPr>
              <a:t>System Pillar defining a set of recommendations and best practices </a:t>
            </a:r>
            <a:endParaRPr lang="en-GB" sz="200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Richtungspfeil 1">
            <a:extLst>
              <a:ext uri="{FF2B5EF4-FFF2-40B4-BE49-F238E27FC236}">
                <a16:creationId xmlns:a16="http://schemas.microsoft.com/office/drawing/2014/main" id="{E2CFB780-338B-4EE5-EF33-DB68EC65C8D3}"/>
              </a:ext>
            </a:extLst>
          </p:cNvPr>
          <p:cNvSpPr/>
          <p:nvPr/>
        </p:nvSpPr>
        <p:spPr>
          <a:xfrm>
            <a:off x="2524523" y="2963943"/>
            <a:ext cx="7511143" cy="1261564"/>
          </a:xfrm>
          <a:prstGeom prst="homePlate">
            <a:avLst/>
          </a:prstGeom>
          <a:solidFill>
            <a:schemeClr val="bg1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E57D2942-3844-AE27-3472-75169D63EE7E}"/>
              </a:ext>
            </a:extLst>
          </p:cNvPr>
          <p:cNvSpPr txBox="1"/>
          <p:nvPr/>
        </p:nvSpPr>
        <p:spPr>
          <a:xfrm>
            <a:off x="2600726" y="3271559"/>
            <a:ext cx="15440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National</a:t>
            </a:r>
          </a:p>
          <a:p>
            <a:pPr algn="l"/>
            <a:r>
              <a:rPr lang="en-GB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rchitecture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FE9F0C8F-9EC4-7CB0-0C8E-A7E927061E00}"/>
              </a:ext>
            </a:extLst>
          </p:cNvPr>
          <p:cNvSpPr/>
          <p:nvPr/>
        </p:nvSpPr>
        <p:spPr>
          <a:xfrm>
            <a:off x="4451296" y="3255385"/>
            <a:ext cx="359229" cy="29391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332F5ED-6BF2-8566-F986-D4111B473401}"/>
              </a:ext>
            </a:extLst>
          </p:cNvPr>
          <p:cNvSpPr/>
          <p:nvPr/>
        </p:nvSpPr>
        <p:spPr>
          <a:xfrm>
            <a:off x="4948354" y="3251335"/>
            <a:ext cx="359229" cy="29391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0396224-351F-C9B9-43DF-0449FB308FA0}"/>
              </a:ext>
            </a:extLst>
          </p:cNvPr>
          <p:cNvSpPr/>
          <p:nvPr/>
        </p:nvSpPr>
        <p:spPr>
          <a:xfrm>
            <a:off x="4451295" y="3616849"/>
            <a:ext cx="856288" cy="14290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1B2493D-C17C-40FF-EDDF-5C8CBFA6E256}"/>
              </a:ext>
            </a:extLst>
          </p:cNvPr>
          <p:cNvSpPr/>
          <p:nvPr/>
        </p:nvSpPr>
        <p:spPr>
          <a:xfrm>
            <a:off x="4451295" y="3058390"/>
            <a:ext cx="856288" cy="14290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E58D5D5-2D78-CE52-744E-B5D686EDF919}"/>
              </a:ext>
            </a:extLst>
          </p:cNvPr>
          <p:cNvSpPr/>
          <p:nvPr/>
        </p:nvSpPr>
        <p:spPr>
          <a:xfrm>
            <a:off x="4451296" y="3847699"/>
            <a:ext cx="359229" cy="29391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93150D6-EFF6-3056-EF95-BD48296E944B}"/>
              </a:ext>
            </a:extLst>
          </p:cNvPr>
          <p:cNvSpPr/>
          <p:nvPr/>
        </p:nvSpPr>
        <p:spPr>
          <a:xfrm>
            <a:off x="4948354" y="3843649"/>
            <a:ext cx="359229" cy="29391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Richtungspfeil 12">
            <a:extLst>
              <a:ext uri="{FF2B5EF4-FFF2-40B4-BE49-F238E27FC236}">
                <a16:creationId xmlns:a16="http://schemas.microsoft.com/office/drawing/2014/main" id="{F41DD264-3F5B-491F-AF39-FDA578241588}"/>
              </a:ext>
            </a:extLst>
          </p:cNvPr>
          <p:cNvSpPr/>
          <p:nvPr/>
        </p:nvSpPr>
        <p:spPr>
          <a:xfrm>
            <a:off x="2894637" y="4602311"/>
            <a:ext cx="7511143" cy="2048860"/>
          </a:xfrm>
          <a:prstGeom prst="homePlate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2CF2412C-4D7A-0719-AB45-BF0AE9A1FC21}"/>
              </a:ext>
            </a:extLst>
          </p:cNvPr>
          <p:cNvSpPr txBox="1"/>
          <p:nvPr/>
        </p:nvSpPr>
        <p:spPr>
          <a:xfrm>
            <a:off x="2933536" y="4721952"/>
            <a:ext cx="1544012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armonized</a:t>
            </a:r>
          </a:p>
          <a:p>
            <a:pPr algn="l"/>
            <a:r>
              <a:rPr lang="en-GB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Target</a:t>
            </a:r>
          </a:p>
          <a:p>
            <a:pPr algn="l"/>
            <a:r>
              <a:rPr lang="en-GB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rchitecture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3550F34E-B80F-1659-A73A-3AC1EB3FA65F}"/>
              </a:ext>
            </a:extLst>
          </p:cNvPr>
          <p:cNvSpPr/>
          <p:nvPr/>
        </p:nvSpPr>
        <p:spPr>
          <a:xfrm>
            <a:off x="4821410" y="4889701"/>
            <a:ext cx="262219" cy="2939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8301BE4-549A-EB27-DC80-D4D7A7D77EC3}"/>
              </a:ext>
            </a:extLst>
          </p:cNvPr>
          <p:cNvSpPr/>
          <p:nvPr/>
        </p:nvSpPr>
        <p:spPr>
          <a:xfrm>
            <a:off x="5427491" y="4889701"/>
            <a:ext cx="250206" cy="2939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893EACD7-A5B2-3949-F4BE-F183AB35A640}"/>
              </a:ext>
            </a:extLst>
          </p:cNvPr>
          <p:cNvSpPr/>
          <p:nvPr/>
        </p:nvSpPr>
        <p:spPr>
          <a:xfrm>
            <a:off x="4821409" y="5233445"/>
            <a:ext cx="856288" cy="1429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7E5CDE2F-E00F-F2B4-659B-1F4F520BFDAA}"/>
              </a:ext>
            </a:extLst>
          </p:cNvPr>
          <p:cNvSpPr/>
          <p:nvPr/>
        </p:nvSpPr>
        <p:spPr>
          <a:xfrm>
            <a:off x="4821409" y="4696758"/>
            <a:ext cx="856288" cy="1429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69BC91A9-9165-10BD-5456-B7705C775E30}"/>
              </a:ext>
            </a:extLst>
          </p:cNvPr>
          <p:cNvSpPr txBox="1"/>
          <p:nvPr/>
        </p:nvSpPr>
        <p:spPr>
          <a:xfrm>
            <a:off x="1167132" y="3208429"/>
            <a:ext cx="109517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National</a:t>
            </a:r>
          </a:p>
          <a:p>
            <a:pPr algn="l"/>
            <a:r>
              <a:rPr lang="en-GB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Product</a:t>
            </a:r>
          </a:p>
          <a:p>
            <a:pPr algn="l"/>
            <a:r>
              <a:rPr lang="en-GB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Usage</a:t>
            </a:r>
          </a:p>
          <a:p>
            <a:pPr algn="l"/>
            <a:endParaRPr lang="en-GB" b="1" err="1">
              <a:solidFill>
                <a:srgbClr val="0C1D3E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CB2C03D0-78E8-4A12-4481-925262ADB51D}"/>
              </a:ext>
            </a:extLst>
          </p:cNvPr>
          <p:cNvSpPr txBox="1"/>
          <p:nvPr/>
        </p:nvSpPr>
        <p:spPr>
          <a:xfrm>
            <a:off x="1230413" y="4768211"/>
            <a:ext cx="1633781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European</a:t>
            </a:r>
          </a:p>
          <a:p>
            <a:pPr algn="l"/>
            <a:r>
              <a:rPr lang="en-GB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Product</a:t>
            </a:r>
          </a:p>
          <a:p>
            <a:pPr algn="l"/>
            <a:r>
              <a:rPr lang="en-GB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evelopment</a:t>
            </a:r>
          </a:p>
          <a:p>
            <a:pPr algn="l"/>
            <a:endParaRPr lang="en-GB" b="1" err="1">
              <a:solidFill>
                <a:srgbClr val="0C1D3E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0951891B-3DE9-20B1-2CF3-20000CA1A56C}"/>
              </a:ext>
            </a:extLst>
          </p:cNvPr>
          <p:cNvSpPr/>
          <p:nvPr/>
        </p:nvSpPr>
        <p:spPr>
          <a:xfrm>
            <a:off x="5133575" y="4889701"/>
            <a:ext cx="250206" cy="2939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D118E093-830B-B084-7935-1E3237808740}"/>
              </a:ext>
            </a:extLst>
          </p:cNvPr>
          <p:cNvSpPr/>
          <p:nvPr/>
        </p:nvSpPr>
        <p:spPr>
          <a:xfrm>
            <a:off x="4821410" y="5437033"/>
            <a:ext cx="262219" cy="2939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665D5EA9-E41B-7DEB-DC7C-85C1159AAAE6}"/>
              </a:ext>
            </a:extLst>
          </p:cNvPr>
          <p:cNvSpPr/>
          <p:nvPr/>
        </p:nvSpPr>
        <p:spPr>
          <a:xfrm>
            <a:off x="5427491" y="5437033"/>
            <a:ext cx="250206" cy="2939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9DDAF1CB-A632-22B0-E9CF-AA1C6F469A70}"/>
              </a:ext>
            </a:extLst>
          </p:cNvPr>
          <p:cNvSpPr/>
          <p:nvPr/>
        </p:nvSpPr>
        <p:spPr>
          <a:xfrm>
            <a:off x="5133575" y="5437033"/>
            <a:ext cx="250206" cy="2939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8B2B85DF-1B0C-9FC7-8890-BA6BE6369C78}"/>
              </a:ext>
            </a:extLst>
          </p:cNvPr>
          <p:cNvSpPr/>
          <p:nvPr/>
        </p:nvSpPr>
        <p:spPr>
          <a:xfrm>
            <a:off x="6171239" y="3431014"/>
            <a:ext cx="262219" cy="2939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595F0157-9443-0412-C39E-CC7A7E5FB035}"/>
              </a:ext>
            </a:extLst>
          </p:cNvPr>
          <p:cNvSpPr/>
          <p:nvPr/>
        </p:nvSpPr>
        <p:spPr>
          <a:xfrm>
            <a:off x="7250174" y="3796662"/>
            <a:ext cx="250206" cy="2939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7430C4AB-8ED7-B5FF-3D91-500D61992FBC}"/>
              </a:ext>
            </a:extLst>
          </p:cNvPr>
          <p:cNvCxnSpPr>
            <a:endCxn id="27" idx="1"/>
          </p:cNvCxnSpPr>
          <p:nvPr/>
        </p:nvCxnSpPr>
        <p:spPr>
          <a:xfrm flipV="1">
            <a:off x="4948354" y="3577971"/>
            <a:ext cx="1222885" cy="1458687"/>
          </a:xfrm>
          <a:prstGeom prst="straightConnector1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mit Pfeil 30">
            <a:extLst>
              <a:ext uri="{FF2B5EF4-FFF2-40B4-BE49-F238E27FC236}">
                <a16:creationId xmlns:a16="http://schemas.microsoft.com/office/drawing/2014/main" id="{345D9183-0F17-65A9-3E8E-182BE235935B}"/>
              </a:ext>
            </a:extLst>
          </p:cNvPr>
          <p:cNvCxnSpPr>
            <a:cxnSpLocks/>
          </p:cNvCxnSpPr>
          <p:nvPr/>
        </p:nvCxnSpPr>
        <p:spPr>
          <a:xfrm flipV="1">
            <a:off x="5563480" y="3965534"/>
            <a:ext cx="1627282" cy="1605795"/>
          </a:xfrm>
          <a:prstGeom prst="straightConnector1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>
            <a:extLst>
              <a:ext uri="{FF2B5EF4-FFF2-40B4-BE49-F238E27FC236}">
                <a16:creationId xmlns:a16="http://schemas.microsoft.com/office/drawing/2014/main" id="{892839B8-1B94-055D-1915-2126C6910E8A}"/>
              </a:ext>
            </a:extLst>
          </p:cNvPr>
          <p:cNvSpPr txBox="1"/>
          <p:nvPr/>
        </p:nvSpPr>
        <p:spPr>
          <a:xfrm>
            <a:off x="5964411" y="2998811"/>
            <a:ext cx="3730508" cy="33855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pPr algn="l"/>
            <a:r>
              <a:rPr lang="en-GB" sz="1600" b="1">
                <a:solidFill>
                  <a:srgbClr val="FF0000"/>
                </a:solidFill>
                <a:ea typeface="Calibri" panose="020F0502020204030204" pitchFamily="34" charset="0"/>
                <a:cs typeface="Arial"/>
              </a:rPr>
              <a:t>National “adaptation” developments</a:t>
            </a:r>
          </a:p>
        </p:txBody>
      </p: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1E6177F6-3AAD-022B-194A-CD890B949958}"/>
              </a:ext>
            </a:extLst>
          </p:cNvPr>
          <p:cNvCxnSpPr/>
          <p:nvPr/>
        </p:nvCxnSpPr>
        <p:spPr>
          <a:xfrm>
            <a:off x="7500380" y="3943619"/>
            <a:ext cx="14888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4945F7F2-CF81-394D-822B-ACD361DBDE6E}"/>
              </a:ext>
            </a:extLst>
          </p:cNvPr>
          <p:cNvCxnSpPr>
            <a:cxnSpLocks/>
          </p:cNvCxnSpPr>
          <p:nvPr/>
        </p:nvCxnSpPr>
        <p:spPr>
          <a:xfrm>
            <a:off x="6317235" y="3707510"/>
            <a:ext cx="0" cy="15929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feld 43">
            <a:extLst>
              <a:ext uri="{FF2B5EF4-FFF2-40B4-BE49-F238E27FC236}">
                <a16:creationId xmlns:a16="http://schemas.microsoft.com/office/drawing/2014/main" id="{1DD0C21C-6569-D0B4-53F2-31020771DE4C}"/>
              </a:ext>
            </a:extLst>
          </p:cNvPr>
          <p:cNvSpPr txBox="1"/>
          <p:nvPr/>
        </p:nvSpPr>
        <p:spPr>
          <a:xfrm>
            <a:off x="10132181" y="3025178"/>
            <a:ext cx="2026205" cy="12003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l"/>
            <a:r>
              <a:rPr lang="en-GB" sz="1200" b="1">
                <a:solidFill>
                  <a:srgbClr val="FF0000"/>
                </a:solidFill>
                <a:ea typeface="Calibri" panose="020F0502020204030204" pitchFamily="34" charset="0"/>
                <a:cs typeface="Arial"/>
              </a:rPr>
              <a:t>”Adaptation” always happens by adapting the national legacy system to a standard interface or to harmonized operational rules</a:t>
            </a: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4AA3963D-D32D-6BF9-27BD-7FCE33958EE2}"/>
              </a:ext>
            </a:extLst>
          </p:cNvPr>
          <p:cNvSpPr/>
          <p:nvPr/>
        </p:nvSpPr>
        <p:spPr>
          <a:xfrm>
            <a:off x="7666468" y="3796662"/>
            <a:ext cx="359229" cy="29391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hteck 45">
            <a:extLst>
              <a:ext uri="{FF2B5EF4-FFF2-40B4-BE49-F238E27FC236}">
                <a16:creationId xmlns:a16="http://schemas.microsoft.com/office/drawing/2014/main" id="{8EDC6BCC-DBC7-B608-1E1C-769CA6229913}"/>
              </a:ext>
            </a:extLst>
          </p:cNvPr>
          <p:cNvSpPr/>
          <p:nvPr/>
        </p:nvSpPr>
        <p:spPr>
          <a:xfrm>
            <a:off x="7666468" y="3865309"/>
            <a:ext cx="102534" cy="146318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6FFD1AC8-1978-451C-EEE9-D4327ACAB963}"/>
              </a:ext>
            </a:extLst>
          </p:cNvPr>
          <p:cNvSpPr/>
          <p:nvPr/>
        </p:nvSpPr>
        <p:spPr>
          <a:xfrm>
            <a:off x="6136176" y="3885468"/>
            <a:ext cx="359229" cy="29391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AD72B251-8DAB-58B3-54DC-CF8033CB5216}"/>
              </a:ext>
            </a:extLst>
          </p:cNvPr>
          <p:cNvSpPr/>
          <p:nvPr/>
        </p:nvSpPr>
        <p:spPr>
          <a:xfrm>
            <a:off x="6223261" y="3888802"/>
            <a:ext cx="184657" cy="124960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9" name="Textfeld 48">
            <a:extLst>
              <a:ext uri="{FF2B5EF4-FFF2-40B4-BE49-F238E27FC236}">
                <a16:creationId xmlns:a16="http://schemas.microsoft.com/office/drawing/2014/main" id="{B04E5003-2298-2994-ADBF-4A1096A98131}"/>
              </a:ext>
            </a:extLst>
          </p:cNvPr>
          <p:cNvSpPr txBox="1"/>
          <p:nvPr/>
        </p:nvSpPr>
        <p:spPr>
          <a:xfrm>
            <a:off x="1321342" y="4269399"/>
            <a:ext cx="400782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200" b="1">
                <a:solidFill>
                  <a:srgbClr val="FF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National migration plan: When to use which product</a:t>
            </a:r>
          </a:p>
        </p:txBody>
      </p:sp>
      <p:sp>
        <p:nvSpPr>
          <p:cNvPr id="50" name="Textfeld 49">
            <a:extLst>
              <a:ext uri="{FF2B5EF4-FFF2-40B4-BE49-F238E27FC236}">
                <a16:creationId xmlns:a16="http://schemas.microsoft.com/office/drawing/2014/main" id="{E886A4E2-E336-C7C0-6D4E-E666978FB74D}"/>
              </a:ext>
            </a:extLst>
          </p:cNvPr>
          <p:cNvSpPr txBox="1"/>
          <p:nvPr/>
        </p:nvSpPr>
        <p:spPr>
          <a:xfrm>
            <a:off x="4365982" y="3243799"/>
            <a:ext cx="106150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GB" sz="1600" b="1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National</a:t>
            </a:r>
          </a:p>
          <a:p>
            <a:pPr algn="l"/>
            <a:r>
              <a:rPr lang="en-GB" sz="1600" b="1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bespoke</a:t>
            </a:r>
          </a:p>
          <a:p>
            <a:pPr algn="l"/>
            <a:r>
              <a:rPr lang="en-GB" sz="1600" b="1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products</a:t>
            </a:r>
          </a:p>
        </p:txBody>
      </p:sp>
      <p:sp>
        <p:nvSpPr>
          <p:cNvPr id="51" name="Textfeld 50">
            <a:extLst>
              <a:ext uri="{FF2B5EF4-FFF2-40B4-BE49-F238E27FC236}">
                <a16:creationId xmlns:a16="http://schemas.microsoft.com/office/drawing/2014/main" id="{134017CB-9DF2-61BC-5EF8-FDDAB13EBC41}"/>
              </a:ext>
            </a:extLst>
          </p:cNvPr>
          <p:cNvSpPr txBox="1"/>
          <p:nvPr/>
        </p:nvSpPr>
        <p:spPr>
          <a:xfrm>
            <a:off x="4472500" y="5820174"/>
            <a:ext cx="16987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200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vailable European  products for Migration Target 1</a:t>
            </a: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9CE3E2A1-92C9-8B05-E9CB-A270403FEFF9}"/>
              </a:ext>
            </a:extLst>
          </p:cNvPr>
          <p:cNvSpPr/>
          <p:nvPr/>
        </p:nvSpPr>
        <p:spPr>
          <a:xfrm>
            <a:off x="7926479" y="4889701"/>
            <a:ext cx="262219" cy="2939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F5812560-BC65-3C1D-5F5E-FD82756229AC}"/>
              </a:ext>
            </a:extLst>
          </p:cNvPr>
          <p:cNvSpPr/>
          <p:nvPr/>
        </p:nvSpPr>
        <p:spPr>
          <a:xfrm>
            <a:off x="8532560" y="4889701"/>
            <a:ext cx="250206" cy="2939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A6547CD-AF15-BD5F-2569-326D11452F98}"/>
              </a:ext>
            </a:extLst>
          </p:cNvPr>
          <p:cNvSpPr/>
          <p:nvPr/>
        </p:nvSpPr>
        <p:spPr>
          <a:xfrm>
            <a:off x="7926478" y="5233445"/>
            <a:ext cx="1168126" cy="1429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484F5915-4473-793C-FDA2-C9AC60DE4427}"/>
              </a:ext>
            </a:extLst>
          </p:cNvPr>
          <p:cNvSpPr/>
          <p:nvPr/>
        </p:nvSpPr>
        <p:spPr>
          <a:xfrm>
            <a:off x="7926478" y="4696759"/>
            <a:ext cx="1168126" cy="132262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557537F3-2564-B6D0-C396-3B62C7B1CFED}"/>
              </a:ext>
            </a:extLst>
          </p:cNvPr>
          <p:cNvSpPr/>
          <p:nvPr/>
        </p:nvSpPr>
        <p:spPr>
          <a:xfrm>
            <a:off x="8238644" y="4889701"/>
            <a:ext cx="250206" cy="2939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hteck 56">
            <a:extLst>
              <a:ext uri="{FF2B5EF4-FFF2-40B4-BE49-F238E27FC236}">
                <a16:creationId xmlns:a16="http://schemas.microsoft.com/office/drawing/2014/main" id="{074436C4-2636-777B-9160-A06B76D2690E}"/>
              </a:ext>
            </a:extLst>
          </p:cNvPr>
          <p:cNvSpPr/>
          <p:nvPr/>
        </p:nvSpPr>
        <p:spPr>
          <a:xfrm>
            <a:off x="7926479" y="5633819"/>
            <a:ext cx="262219" cy="2939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90583E0A-D3D8-D2E6-BB74-0F648CC61D8A}"/>
              </a:ext>
            </a:extLst>
          </p:cNvPr>
          <p:cNvSpPr/>
          <p:nvPr/>
        </p:nvSpPr>
        <p:spPr>
          <a:xfrm>
            <a:off x="8532560" y="5633819"/>
            <a:ext cx="250206" cy="2939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9" name="Rechteck 58">
            <a:extLst>
              <a:ext uri="{FF2B5EF4-FFF2-40B4-BE49-F238E27FC236}">
                <a16:creationId xmlns:a16="http://schemas.microsoft.com/office/drawing/2014/main" id="{98899933-ADEA-6230-8476-2F8881D7F507}"/>
              </a:ext>
            </a:extLst>
          </p:cNvPr>
          <p:cNvSpPr/>
          <p:nvPr/>
        </p:nvSpPr>
        <p:spPr>
          <a:xfrm>
            <a:off x="8238644" y="5633819"/>
            <a:ext cx="250206" cy="2939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0" name="Rechteck 59">
            <a:extLst>
              <a:ext uri="{FF2B5EF4-FFF2-40B4-BE49-F238E27FC236}">
                <a16:creationId xmlns:a16="http://schemas.microsoft.com/office/drawing/2014/main" id="{E2AC54D9-FF1D-DE54-3DA2-33BDFD4E09E6}"/>
              </a:ext>
            </a:extLst>
          </p:cNvPr>
          <p:cNvSpPr/>
          <p:nvPr/>
        </p:nvSpPr>
        <p:spPr>
          <a:xfrm>
            <a:off x="5823212" y="3094144"/>
            <a:ext cx="184657" cy="124960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1" name="Rechteck 60">
            <a:extLst>
              <a:ext uri="{FF2B5EF4-FFF2-40B4-BE49-F238E27FC236}">
                <a16:creationId xmlns:a16="http://schemas.microsoft.com/office/drawing/2014/main" id="{4BC42161-6BC1-6188-27CF-E5A7A43E50AB}"/>
              </a:ext>
            </a:extLst>
          </p:cNvPr>
          <p:cNvSpPr/>
          <p:nvPr/>
        </p:nvSpPr>
        <p:spPr>
          <a:xfrm>
            <a:off x="8844398" y="4889701"/>
            <a:ext cx="250206" cy="2939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2" name="Rechteck 61">
            <a:extLst>
              <a:ext uri="{FF2B5EF4-FFF2-40B4-BE49-F238E27FC236}">
                <a16:creationId xmlns:a16="http://schemas.microsoft.com/office/drawing/2014/main" id="{DD7B199F-8839-DC32-600F-BCB5C9957FFE}"/>
              </a:ext>
            </a:extLst>
          </p:cNvPr>
          <p:cNvSpPr/>
          <p:nvPr/>
        </p:nvSpPr>
        <p:spPr>
          <a:xfrm>
            <a:off x="8844398" y="5633819"/>
            <a:ext cx="250206" cy="2939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13BA02B8-60CD-2D53-5C8C-DEB56FFB3F8D}"/>
              </a:ext>
            </a:extLst>
          </p:cNvPr>
          <p:cNvCxnSpPr>
            <a:cxnSpLocks/>
            <a:endCxn id="67" idx="2"/>
          </p:cNvCxnSpPr>
          <p:nvPr/>
        </p:nvCxnSpPr>
        <p:spPr>
          <a:xfrm flipV="1">
            <a:off x="8980387" y="3762205"/>
            <a:ext cx="116667" cy="1238620"/>
          </a:xfrm>
          <a:prstGeom prst="straightConnector1">
            <a:avLst/>
          </a:prstGeom>
          <a:ln w="38100">
            <a:solidFill>
              <a:schemeClr val="tx1">
                <a:lumMod val="75000"/>
                <a:lumOff val="2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D5C19A90-2FB8-83DC-95EA-398CF2CDD042}"/>
              </a:ext>
            </a:extLst>
          </p:cNvPr>
          <p:cNvSpPr/>
          <p:nvPr/>
        </p:nvSpPr>
        <p:spPr>
          <a:xfrm>
            <a:off x="8971951" y="3468291"/>
            <a:ext cx="250206" cy="2939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68" name="Gerade Verbindung mit Pfeil 67">
            <a:extLst>
              <a:ext uri="{FF2B5EF4-FFF2-40B4-BE49-F238E27FC236}">
                <a16:creationId xmlns:a16="http://schemas.microsoft.com/office/drawing/2014/main" id="{CEC91FC7-26E2-3F00-65E7-67D082DE9613}"/>
              </a:ext>
            </a:extLst>
          </p:cNvPr>
          <p:cNvCxnSpPr/>
          <p:nvPr/>
        </p:nvCxnSpPr>
        <p:spPr>
          <a:xfrm>
            <a:off x="9211271" y="3615248"/>
            <a:ext cx="148880" cy="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hteck 68">
            <a:extLst>
              <a:ext uri="{FF2B5EF4-FFF2-40B4-BE49-F238E27FC236}">
                <a16:creationId xmlns:a16="http://schemas.microsoft.com/office/drawing/2014/main" id="{D8C28493-29E7-DD81-45DF-02817BEF58EF}"/>
              </a:ext>
            </a:extLst>
          </p:cNvPr>
          <p:cNvSpPr/>
          <p:nvPr/>
        </p:nvSpPr>
        <p:spPr>
          <a:xfrm>
            <a:off x="9377359" y="3468291"/>
            <a:ext cx="359229" cy="29391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21969A16-7514-DFF1-4535-103ECB43E514}"/>
              </a:ext>
            </a:extLst>
          </p:cNvPr>
          <p:cNvSpPr/>
          <p:nvPr/>
        </p:nvSpPr>
        <p:spPr>
          <a:xfrm>
            <a:off x="9377359" y="3536938"/>
            <a:ext cx="102534" cy="146318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256BA43D-1BFC-0686-D289-D6FBC866D692}"/>
              </a:ext>
            </a:extLst>
          </p:cNvPr>
          <p:cNvSpPr/>
          <p:nvPr/>
        </p:nvSpPr>
        <p:spPr>
          <a:xfrm>
            <a:off x="8664574" y="3468949"/>
            <a:ext cx="250206" cy="2939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4" name="Rechteck 73">
            <a:extLst>
              <a:ext uri="{FF2B5EF4-FFF2-40B4-BE49-F238E27FC236}">
                <a16:creationId xmlns:a16="http://schemas.microsoft.com/office/drawing/2014/main" id="{63FAF55F-B9A1-DCCA-CFB4-B3A6FB44D7AD}"/>
              </a:ext>
            </a:extLst>
          </p:cNvPr>
          <p:cNvSpPr/>
          <p:nvPr/>
        </p:nvSpPr>
        <p:spPr>
          <a:xfrm>
            <a:off x="7245293" y="3437573"/>
            <a:ext cx="262219" cy="2939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5" name="Rechteck 74">
            <a:extLst>
              <a:ext uri="{FF2B5EF4-FFF2-40B4-BE49-F238E27FC236}">
                <a16:creationId xmlns:a16="http://schemas.microsoft.com/office/drawing/2014/main" id="{94442C34-5A7C-55DB-676A-1642899F78A0}"/>
              </a:ext>
            </a:extLst>
          </p:cNvPr>
          <p:cNvSpPr/>
          <p:nvPr/>
        </p:nvSpPr>
        <p:spPr>
          <a:xfrm>
            <a:off x="8667424" y="3818364"/>
            <a:ext cx="250206" cy="29391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8" name="Textfeld 77">
            <a:extLst>
              <a:ext uri="{FF2B5EF4-FFF2-40B4-BE49-F238E27FC236}">
                <a16:creationId xmlns:a16="http://schemas.microsoft.com/office/drawing/2014/main" id="{4D8AFE04-D9EA-CEAE-A52A-79BAF44BB59D}"/>
              </a:ext>
            </a:extLst>
          </p:cNvPr>
          <p:cNvSpPr txBox="1"/>
          <p:nvPr/>
        </p:nvSpPr>
        <p:spPr>
          <a:xfrm>
            <a:off x="7769002" y="6019145"/>
            <a:ext cx="16987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200" b="1">
                <a:solidFill>
                  <a:srgbClr val="0C1D3E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vailable European  products for Migration Target 2</a:t>
            </a:r>
          </a:p>
        </p:txBody>
      </p:sp>
      <p:sp>
        <p:nvSpPr>
          <p:cNvPr id="79" name="Rechteck 78">
            <a:extLst>
              <a:ext uri="{FF2B5EF4-FFF2-40B4-BE49-F238E27FC236}">
                <a16:creationId xmlns:a16="http://schemas.microsoft.com/office/drawing/2014/main" id="{59A97A5A-038A-1CFD-F336-93EA3D8252EB}"/>
              </a:ext>
            </a:extLst>
          </p:cNvPr>
          <p:cNvSpPr/>
          <p:nvPr/>
        </p:nvSpPr>
        <p:spPr>
          <a:xfrm>
            <a:off x="7926478" y="5428422"/>
            <a:ext cx="562372" cy="1429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0" name="Rechteck 79">
            <a:extLst>
              <a:ext uri="{FF2B5EF4-FFF2-40B4-BE49-F238E27FC236}">
                <a16:creationId xmlns:a16="http://schemas.microsoft.com/office/drawing/2014/main" id="{2B22321A-30DE-F544-9A11-A2B6B8E072F4}"/>
              </a:ext>
            </a:extLst>
          </p:cNvPr>
          <p:cNvSpPr/>
          <p:nvPr/>
        </p:nvSpPr>
        <p:spPr>
          <a:xfrm>
            <a:off x="8532560" y="5428422"/>
            <a:ext cx="562372" cy="142907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98288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EBFCF1-2587-4BC9-A56B-8BCD854D6F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3</a:t>
            </a:fld>
            <a:endParaRPr lang="de-CH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78A3689F-A1B8-45B4-B7DE-FA981F019F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649" y="365127"/>
            <a:ext cx="8850447" cy="613820"/>
          </a:xfrm>
        </p:spPr>
        <p:txBody>
          <a:bodyPr lIns="91440" tIns="45720" rIns="91440" bIns="45720" anchor="t">
            <a:normAutofit/>
          </a:bodyPr>
          <a:lstStyle/>
          <a:p>
            <a:r>
              <a:rPr lang="en-GB" sz="3200" b="1"/>
              <a:t>Migration Target 1 </a:t>
            </a:r>
            <a:r>
              <a:rPr lang="en-GB" sz="2000" b="1">
                <a:solidFill>
                  <a:srgbClr val="FF0000"/>
                </a:solidFill>
              </a:rPr>
              <a:t>(current discussion state)</a:t>
            </a:r>
            <a:endParaRPr lang="en-GB" sz="1800" b="1">
              <a:solidFill>
                <a:srgbClr val="FF0000"/>
              </a:solidFill>
            </a:endParaRPr>
          </a:p>
        </p:txBody>
      </p:sp>
      <p:sp>
        <p:nvSpPr>
          <p:cNvPr id="3" name="TextBox 14">
            <a:extLst>
              <a:ext uri="{FF2B5EF4-FFF2-40B4-BE49-F238E27FC236}">
                <a16:creationId xmlns:a16="http://schemas.microsoft.com/office/drawing/2014/main" id="{F72FCE51-E582-4BCC-BDEB-6ACEE9A050F8}"/>
              </a:ext>
            </a:extLst>
          </p:cNvPr>
          <p:cNvSpPr txBox="1"/>
          <p:nvPr/>
        </p:nvSpPr>
        <p:spPr>
          <a:xfrm>
            <a:off x="1188903" y="1081640"/>
            <a:ext cx="9814193" cy="558063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28600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 b="1">
                <a:latin typeface="Arial"/>
                <a:ea typeface="Calibri"/>
                <a:cs typeface="Arial"/>
              </a:rPr>
              <a:t>Title: </a:t>
            </a:r>
            <a:r>
              <a:rPr lang="en-GB" sz="2000" i="1">
                <a:latin typeface="Arial"/>
                <a:ea typeface="Calibri"/>
                <a:cs typeface="Arial"/>
              </a:rPr>
              <a:t>F</a:t>
            </a:r>
            <a:r>
              <a:rPr lang="en-GB" sz="2000" i="1"/>
              <a:t>irst set of solutions largely based on today’s technology</a:t>
            </a:r>
            <a:endParaRPr lang="en-GB" sz="2000" b="1" i="1">
              <a:latin typeface="Arial"/>
              <a:ea typeface="Calibri"/>
              <a:cs typeface="Arial"/>
            </a:endParaRPr>
          </a:p>
          <a:p>
            <a:pPr marL="228600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 b="1">
                <a:latin typeface="Arial"/>
                <a:ea typeface="Calibri"/>
                <a:cs typeface="Arial"/>
              </a:rPr>
              <a:t>Timing</a:t>
            </a:r>
            <a:r>
              <a:rPr lang="en-GB" sz="2000">
                <a:latin typeface="Arial"/>
                <a:ea typeface="Calibri"/>
                <a:cs typeface="Arial"/>
              </a:rPr>
              <a:t>: Starting from 2030 </a:t>
            </a:r>
          </a:p>
          <a:p>
            <a:pPr marL="228600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 b="1">
                <a:latin typeface="Arial"/>
                <a:ea typeface="Calibri"/>
                <a:cs typeface="Arial"/>
              </a:rPr>
              <a:t>Available Products</a:t>
            </a:r>
            <a:r>
              <a:rPr lang="en-GB" sz="2000">
                <a:latin typeface="Arial"/>
                <a:ea typeface="Calibri"/>
                <a:cs typeface="Arial"/>
              </a:rPr>
              <a:t>: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>
                <a:latin typeface="Arial"/>
                <a:ea typeface="Calibri"/>
                <a:cs typeface="Arial"/>
              </a:rPr>
              <a:t>Harmonized Trackside Protection System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>
                <a:latin typeface="Arial"/>
                <a:ea typeface="Calibri"/>
                <a:cs typeface="Arial"/>
              </a:rPr>
              <a:t>EULYNX based object controllers for trackside assets (available earlier)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>
                <a:latin typeface="Arial"/>
                <a:ea typeface="Calibri"/>
                <a:cs typeface="Arial"/>
              </a:rPr>
              <a:t>First modularisation and upgradeability for new CCS onboards 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>
                <a:latin typeface="Arial"/>
                <a:ea typeface="Calibri"/>
                <a:cs typeface="Arial"/>
              </a:rPr>
              <a:t>FRMCS (available earlier)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>
                <a:latin typeface="Arial"/>
                <a:ea typeface="Calibri"/>
                <a:cs typeface="Arial"/>
              </a:rPr>
              <a:t>Trackside digital registry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>
                <a:latin typeface="Arial"/>
                <a:ea typeface="Calibri"/>
                <a:cs typeface="Arial"/>
              </a:rPr>
              <a:t>FDFTO/DAC, automated digital coupler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>
                <a:latin typeface="Arial"/>
                <a:ea typeface="Calibri"/>
                <a:cs typeface="Arial"/>
              </a:rPr>
              <a:t>Based on</a:t>
            </a:r>
          </a:p>
          <a:p>
            <a:pPr marL="1143000" lvl="2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>
                <a:latin typeface="Arial"/>
                <a:ea typeface="Calibri"/>
                <a:cs typeface="Arial"/>
              </a:rPr>
              <a:t>Operational harmonisation for ETCS Level 2 only</a:t>
            </a:r>
          </a:p>
          <a:p>
            <a:pPr marL="1143000" lvl="2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>
                <a:latin typeface="Arial"/>
                <a:ea typeface="Calibri"/>
                <a:cs typeface="Arial"/>
              </a:rPr>
              <a:t>Harmonized Cybersecurity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>
                <a:latin typeface="Arial"/>
                <a:ea typeface="Calibri"/>
                <a:cs typeface="Arial"/>
              </a:rPr>
              <a:t>Optional: TMS using harmonized interfaces, harmonized GoA2 products.</a:t>
            </a:r>
          </a:p>
        </p:txBody>
      </p:sp>
    </p:spTree>
    <p:extLst>
      <p:ext uri="{BB962C8B-B14F-4D97-AF65-F5344CB8AC3E}">
        <p14:creationId xmlns:p14="http://schemas.microsoft.com/office/powerpoint/2010/main" val="1504911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EBFCF1-2587-4BC9-A56B-8BCD854D6F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4</a:t>
            </a:fld>
            <a:endParaRPr lang="de-CH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78A3689F-A1B8-45B4-B7DE-FA981F019F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650" y="365127"/>
            <a:ext cx="7886700" cy="613820"/>
          </a:xfrm>
        </p:spPr>
        <p:txBody>
          <a:bodyPr lIns="91440" tIns="45720" rIns="91440" bIns="45720" anchor="t">
            <a:normAutofit/>
          </a:bodyPr>
          <a:lstStyle/>
          <a:p>
            <a:r>
              <a:rPr lang="en-GB" sz="3200" b="1"/>
              <a:t>Migration Target 2 </a:t>
            </a:r>
            <a:r>
              <a:rPr lang="en-GB" sz="1800" b="1">
                <a:solidFill>
                  <a:srgbClr val="FF0000"/>
                </a:solidFill>
              </a:rPr>
              <a:t>(current discussion state)</a:t>
            </a:r>
          </a:p>
        </p:txBody>
      </p:sp>
      <p:sp>
        <p:nvSpPr>
          <p:cNvPr id="2" name="TextBox 14">
            <a:extLst>
              <a:ext uri="{FF2B5EF4-FFF2-40B4-BE49-F238E27FC236}">
                <a16:creationId xmlns:a16="http://schemas.microsoft.com/office/drawing/2014/main" id="{3EBAEA8B-C632-7EA9-961D-7F3B097F0412}"/>
              </a:ext>
            </a:extLst>
          </p:cNvPr>
          <p:cNvSpPr txBox="1"/>
          <p:nvPr/>
        </p:nvSpPr>
        <p:spPr>
          <a:xfrm>
            <a:off x="1188903" y="1342897"/>
            <a:ext cx="9609726" cy="471680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28600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 b="1">
                <a:latin typeface="Arial"/>
                <a:ea typeface="Calibri"/>
                <a:cs typeface="Arial"/>
              </a:rPr>
              <a:t>Title: </a:t>
            </a:r>
            <a:r>
              <a:rPr lang="en-GB" sz="2000" i="1">
                <a:latin typeface="Arial"/>
                <a:ea typeface="Calibri"/>
                <a:cs typeface="Arial"/>
              </a:rPr>
              <a:t>Enhanced digitalization introducing new technology</a:t>
            </a:r>
          </a:p>
          <a:p>
            <a:pPr marL="228600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 b="1">
                <a:latin typeface="Arial"/>
                <a:ea typeface="Calibri"/>
                <a:cs typeface="Arial"/>
              </a:rPr>
              <a:t>Timing</a:t>
            </a:r>
            <a:r>
              <a:rPr lang="en-GB" sz="2000">
                <a:latin typeface="Arial"/>
                <a:ea typeface="Calibri"/>
                <a:cs typeface="Arial"/>
              </a:rPr>
              <a:t>: Starting from 2035</a:t>
            </a:r>
          </a:p>
          <a:p>
            <a:pPr marL="228600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 b="1">
                <a:latin typeface="Arial"/>
                <a:ea typeface="Calibri"/>
                <a:cs typeface="Arial"/>
              </a:rPr>
              <a:t>Available Products</a:t>
            </a:r>
            <a:r>
              <a:rPr lang="en-GB" sz="2000">
                <a:latin typeface="Arial"/>
                <a:ea typeface="Calibri"/>
                <a:cs typeface="Arial"/>
              </a:rPr>
              <a:t>: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>
                <a:latin typeface="Arial"/>
                <a:ea typeface="Calibri"/>
                <a:cs typeface="Arial"/>
              </a:rPr>
              <a:t>Full modular CCS onboard architecture for new CCS onboards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>
                <a:latin typeface="Arial"/>
                <a:ea typeface="Calibri"/>
                <a:cs typeface="Arial"/>
              </a:rPr>
              <a:t>Digital registry connected to all trackside systems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>
                <a:latin typeface="Arial"/>
                <a:ea typeface="Calibri"/>
                <a:cs typeface="Arial"/>
              </a:rPr>
              <a:t>All systems of the target architecture based on End-to-end security</a:t>
            </a:r>
          </a:p>
          <a:p>
            <a:pPr marL="228600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 b="1">
                <a:latin typeface="Arial"/>
                <a:ea typeface="Calibri"/>
                <a:cs typeface="Arial"/>
              </a:rPr>
              <a:t>Optional products</a:t>
            </a:r>
            <a:r>
              <a:rPr lang="en-GB" sz="2000">
                <a:latin typeface="Arial"/>
                <a:ea typeface="Calibri"/>
                <a:cs typeface="Arial"/>
              </a:rPr>
              <a:t>: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>
                <a:latin typeface="Arial"/>
                <a:ea typeface="Calibri"/>
                <a:cs typeface="Arial"/>
              </a:rPr>
              <a:t>Remote Train Operation (RTO)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>
                <a:latin typeface="Arial"/>
                <a:ea typeface="Calibri"/>
                <a:cs typeface="Arial"/>
              </a:rPr>
              <a:t>Advanced safe train positioning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>
                <a:latin typeface="Arial"/>
                <a:ea typeface="Calibri"/>
                <a:cs typeface="Arial"/>
              </a:rPr>
              <a:t>Advanced DAC/FDFTO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endParaRPr lang="en-GB" sz="2000">
              <a:latin typeface="Arial"/>
              <a:ea typeface="Calibr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57340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EBFCF1-2587-4BC9-A56B-8BCD854D6F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5</a:t>
            </a:fld>
            <a:endParaRPr lang="de-CH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78A3689F-A1B8-45B4-B7DE-FA981F019F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650" y="365127"/>
            <a:ext cx="7886700" cy="613820"/>
          </a:xfrm>
        </p:spPr>
        <p:txBody>
          <a:bodyPr lIns="91440" tIns="45720" rIns="91440" bIns="45720" anchor="t">
            <a:normAutofit/>
          </a:bodyPr>
          <a:lstStyle/>
          <a:p>
            <a:r>
              <a:rPr lang="en-GB" sz="3200" b="1"/>
              <a:t>Migration Target A </a:t>
            </a:r>
            <a:r>
              <a:rPr lang="en-GB" sz="1800" b="1">
                <a:solidFill>
                  <a:srgbClr val="FF0000"/>
                </a:solidFill>
              </a:rPr>
              <a:t>(current discussion state)</a:t>
            </a:r>
          </a:p>
        </p:txBody>
      </p:sp>
      <p:sp>
        <p:nvSpPr>
          <p:cNvPr id="2" name="TextBox 14">
            <a:extLst>
              <a:ext uri="{FF2B5EF4-FFF2-40B4-BE49-F238E27FC236}">
                <a16:creationId xmlns:a16="http://schemas.microsoft.com/office/drawing/2014/main" id="{4F75D3FF-9967-D1CA-E10D-95578E61A365}"/>
              </a:ext>
            </a:extLst>
          </p:cNvPr>
          <p:cNvSpPr txBox="1"/>
          <p:nvPr/>
        </p:nvSpPr>
        <p:spPr>
          <a:xfrm>
            <a:off x="1188903" y="1342897"/>
            <a:ext cx="8850447" cy="34210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28600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 b="1">
                <a:latin typeface="Arial"/>
                <a:ea typeface="Calibri"/>
                <a:cs typeface="Arial"/>
              </a:rPr>
              <a:t>Title: </a:t>
            </a:r>
            <a:r>
              <a:rPr lang="en-GB" sz="2000">
                <a:latin typeface="Arial"/>
                <a:ea typeface="Calibri"/>
                <a:cs typeface="Arial"/>
              </a:rPr>
              <a:t>Automated European Railway</a:t>
            </a:r>
          </a:p>
          <a:p>
            <a:pPr marL="228600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 b="1">
                <a:latin typeface="Arial"/>
                <a:ea typeface="Calibri"/>
                <a:cs typeface="Arial"/>
              </a:rPr>
              <a:t>Timing</a:t>
            </a:r>
            <a:r>
              <a:rPr lang="en-GB" sz="2000">
                <a:latin typeface="Arial"/>
                <a:ea typeface="Calibri"/>
                <a:cs typeface="Arial"/>
              </a:rPr>
              <a:t>: Independent. Application in specific areas.</a:t>
            </a:r>
          </a:p>
          <a:p>
            <a:pPr marL="228600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 b="1">
                <a:latin typeface="Arial"/>
                <a:ea typeface="Calibri"/>
                <a:cs typeface="Arial"/>
              </a:rPr>
              <a:t>Available Products</a:t>
            </a:r>
            <a:r>
              <a:rPr lang="en-GB" sz="2000">
                <a:latin typeface="Arial"/>
                <a:ea typeface="Calibri"/>
                <a:cs typeface="Arial"/>
              </a:rPr>
              <a:t>: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>
                <a:latin typeface="Arial"/>
                <a:ea typeface="Calibri"/>
                <a:cs typeface="Arial"/>
              </a:rPr>
              <a:t>FRMCS-only CCS trackside/onboard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>
                <a:latin typeface="Arial"/>
                <a:ea typeface="Calibri"/>
                <a:cs typeface="Arial"/>
              </a:rPr>
              <a:t>ATO </a:t>
            </a:r>
            <a:r>
              <a:rPr lang="en-GB" sz="2000" err="1">
                <a:latin typeface="Arial"/>
                <a:ea typeface="Calibri"/>
                <a:cs typeface="Arial"/>
              </a:rPr>
              <a:t>GoA</a:t>
            </a:r>
            <a:r>
              <a:rPr lang="en-GB" sz="2000">
                <a:latin typeface="Arial"/>
                <a:ea typeface="Calibri"/>
                <a:cs typeface="Arial"/>
              </a:rPr>
              <a:t> 3/4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r>
              <a:rPr lang="en-GB" sz="2000">
                <a:latin typeface="Arial"/>
                <a:ea typeface="Calibri"/>
                <a:cs typeface="Arial"/>
              </a:rPr>
              <a:t>Digital register share for all applications, incl. onboard</a:t>
            </a:r>
          </a:p>
          <a:p>
            <a:pPr marL="685800" lvl="1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endParaRPr lang="en-GB" sz="2000">
              <a:latin typeface="Arial"/>
              <a:ea typeface="Calibri"/>
              <a:cs typeface="Arial"/>
            </a:endParaRPr>
          </a:p>
          <a:p>
            <a:pPr marL="228600" indent="-228600">
              <a:lnSpc>
                <a:spcPct val="107000"/>
              </a:lnSpc>
              <a:spcAft>
                <a:spcPts val="800"/>
              </a:spcAft>
              <a:buClr>
                <a:srgbClr val="91CB60"/>
              </a:buClr>
              <a:buFont typeface="Wingdings" panose="05000000000000000000" pitchFamily="2" charset="2"/>
              <a:buChar char="Ø"/>
            </a:pPr>
            <a:endParaRPr lang="en-GB" sz="200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90378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EBFCF1-2587-4BC9-A56B-8BCD854D6F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6</a:t>
            </a:fld>
            <a:endParaRPr lang="de-CH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78A3689F-A1B8-45B4-B7DE-FA981F019F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650" y="365127"/>
            <a:ext cx="7886700" cy="613820"/>
          </a:xfrm>
        </p:spPr>
        <p:txBody>
          <a:bodyPr lIns="91440" tIns="45720" rIns="91440" bIns="45720" anchor="t">
            <a:normAutofit/>
          </a:bodyPr>
          <a:lstStyle/>
          <a:p>
            <a:r>
              <a:rPr lang="en-GB" sz="3200" b="1" dirty="0"/>
              <a:t>Voting</a:t>
            </a:r>
            <a:endParaRPr lang="en-GB" sz="1800" b="1" dirty="0">
              <a:solidFill>
                <a:srgbClr val="FF0000"/>
              </a:solidFill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6AE58768-FD4B-66A9-E11B-845AD5C80C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5320" y="978947"/>
            <a:ext cx="5809275" cy="417155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E64ECAEF-5F63-0329-C55A-766574F69CF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84264" y="3802288"/>
            <a:ext cx="5507736" cy="3055712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2435F1D3-0B7D-CBA3-2812-6EF89CD5543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94205" y="620145"/>
            <a:ext cx="5397795" cy="3310648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3D53BD37-74CE-B85F-81F7-01A2B53B6B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0153" y="2411516"/>
            <a:ext cx="6271032" cy="398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73906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EBFCF1-2587-4BC9-A56B-8BCD854D6F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7</a:t>
            </a:fld>
            <a:endParaRPr lang="de-CH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78A3689F-A1B8-45B4-B7DE-FA981F019F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650" y="365127"/>
            <a:ext cx="7886700" cy="613820"/>
          </a:xfrm>
        </p:spPr>
        <p:txBody>
          <a:bodyPr lIns="91440" tIns="45720" rIns="91440" bIns="45720" anchor="t">
            <a:normAutofit/>
          </a:bodyPr>
          <a:lstStyle/>
          <a:p>
            <a:r>
              <a:rPr lang="en-GB" sz="3200" b="1" dirty="0"/>
              <a:t>Voting</a:t>
            </a:r>
            <a:endParaRPr lang="en-GB" sz="1800" b="1" dirty="0">
              <a:solidFill>
                <a:srgbClr val="FF0000"/>
              </a:solidFill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22D0BE99-906B-6C42-3EE3-8AF9AAC34C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6215" y="978946"/>
            <a:ext cx="10938865" cy="529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787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EBFCF1-2587-4BC9-A56B-8BCD854D6F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8</a:t>
            </a:fld>
            <a:endParaRPr lang="de-CH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78A3689F-A1B8-45B4-B7DE-FA981F019F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650" y="365127"/>
            <a:ext cx="7886700" cy="613820"/>
          </a:xfrm>
        </p:spPr>
        <p:txBody>
          <a:bodyPr lIns="91440" tIns="45720" rIns="91440" bIns="45720" anchor="t">
            <a:normAutofit/>
          </a:bodyPr>
          <a:lstStyle/>
          <a:p>
            <a:r>
              <a:rPr lang="en-GB" sz="3200" b="1" dirty="0"/>
              <a:t>Voting: CCS trackside migration</a:t>
            </a:r>
            <a:endParaRPr lang="en-GB" sz="1800" b="1" dirty="0">
              <a:solidFill>
                <a:srgbClr val="FF0000"/>
              </a:solidFill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ACD42EE5-1127-F3FD-0767-AE43992B4A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7027" y="1143390"/>
            <a:ext cx="10990999" cy="5349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6786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EBFCF1-2587-4BC9-A56B-8BCD854D6F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9</a:t>
            </a:fld>
            <a:endParaRPr lang="de-CH"/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78A3689F-A1B8-45B4-B7DE-FA981F019F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650" y="365127"/>
            <a:ext cx="7886700" cy="613820"/>
          </a:xfrm>
        </p:spPr>
        <p:txBody>
          <a:bodyPr lIns="91440" tIns="45720" rIns="91440" bIns="45720" anchor="t">
            <a:normAutofit/>
          </a:bodyPr>
          <a:lstStyle/>
          <a:p>
            <a:r>
              <a:rPr lang="en-GB" sz="3200" b="1" dirty="0"/>
              <a:t>Voting: CCS onboard migration</a:t>
            </a:r>
            <a:endParaRPr lang="en-GB" sz="1800" b="1" dirty="0">
              <a:solidFill>
                <a:srgbClr val="FF0000"/>
              </a:solidFill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9C2CCFBD-E755-760E-9A8B-BC9B468C6C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499" y="1216162"/>
            <a:ext cx="11730975" cy="5641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59489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hite title">
  <a:themeElements>
    <a:clrScheme name="Personnalisé 1">
      <a:dk1>
        <a:srgbClr val="0C1D3E"/>
      </a:dk1>
      <a:lt1>
        <a:sysClr val="window" lastClr="FFFFFF"/>
      </a:lt1>
      <a:dk2>
        <a:srgbClr val="0C1D3E"/>
      </a:dk2>
      <a:lt2>
        <a:srgbClr val="FFFFFF"/>
      </a:lt2>
      <a:accent1>
        <a:srgbClr val="97C62E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EuropesRai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BBC5296-AC36-4CC5-8539-A4E562C790FD}" vid="{BE5D6835-7D72-4291-AA2C-BA8E5552911C}"/>
    </a:ext>
  </a:extLst>
</a:theme>
</file>

<file path=ppt/theme/theme2.xml><?xml version="1.0" encoding="utf-8"?>
<a:theme xmlns:a="http://schemas.openxmlformats.org/drawingml/2006/main" name="Blue title">
  <a:themeElements>
    <a:clrScheme name="Personnalisé 1">
      <a:dk1>
        <a:srgbClr val="0C1D3E"/>
      </a:dk1>
      <a:lt1>
        <a:sysClr val="window" lastClr="FFFFFF"/>
      </a:lt1>
      <a:dk2>
        <a:srgbClr val="0C1D3E"/>
      </a:dk2>
      <a:lt2>
        <a:srgbClr val="FFFFFF"/>
      </a:lt2>
      <a:accent1>
        <a:srgbClr val="97C62E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EuropesRai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EBBC5296-AC36-4CC5-8539-A4E562C790FD}" vid="{A042F817-7702-4AFA-92DF-D507F96BC562}"/>
    </a:ext>
  </a:extLst>
</a:theme>
</file>

<file path=ppt/theme/theme3.xml><?xml version="1.0" encoding="utf-8"?>
<a:theme xmlns:a="http://schemas.openxmlformats.org/drawingml/2006/main" name="White">
  <a:themeElements>
    <a:clrScheme name="Personnalisé 1">
      <a:dk1>
        <a:srgbClr val="0C1D3E"/>
      </a:dk1>
      <a:lt1>
        <a:sysClr val="window" lastClr="FFFFFF"/>
      </a:lt1>
      <a:dk2>
        <a:srgbClr val="0C1D3E"/>
      </a:dk2>
      <a:lt2>
        <a:srgbClr val="FFFFFF"/>
      </a:lt2>
      <a:accent1>
        <a:srgbClr val="97C62E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EuropesRai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b="1" dirty="0" err="1">
            <a:solidFill>
              <a:srgbClr val="0C1D3E"/>
            </a:solidFill>
            <a:ea typeface="Calibri" panose="020F050202020403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EBBC5296-AC36-4CC5-8539-A4E562C790FD}" vid="{9BCD671C-D32F-487F-96FD-121AE83B1704}"/>
    </a:ext>
  </a:extLst>
</a:theme>
</file>

<file path=ppt/theme/theme4.xml><?xml version="1.0" encoding="utf-8"?>
<a:theme xmlns:a="http://schemas.openxmlformats.org/drawingml/2006/main" name="Blue">
  <a:themeElements>
    <a:clrScheme name="Personnalisé 1">
      <a:dk1>
        <a:srgbClr val="0C1D3E"/>
      </a:dk1>
      <a:lt1>
        <a:sysClr val="window" lastClr="FFFFFF"/>
      </a:lt1>
      <a:dk2>
        <a:srgbClr val="0C1D3E"/>
      </a:dk2>
      <a:lt2>
        <a:srgbClr val="FFFFFF"/>
      </a:lt2>
      <a:accent1>
        <a:srgbClr val="97C62E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EuropesRai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b="1" dirty="0" err="1">
            <a:solidFill>
              <a:srgbClr val="0C1D3E"/>
            </a:solidFill>
            <a:ea typeface="Calibri" panose="020F050202020403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EBBC5296-AC36-4CC5-8539-A4E562C790FD}" vid="{38437521-70AB-4206-879E-5B13BC11C6B8}"/>
    </a:ext>
  </a:extLst>
</a:theme>
</file>

<file path=ppt/theme/theme5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Main templ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URail PPT.potx" id="{985D271E-8EB3-42A5-BEDC-C12F617D4C68}" vid="{01FD7321-A1E2-4FAE-9ECC-D8837CFE4BC5}"/>
    </a:ext>
  </a:extLst>
</a:theme>
</file>

<file path=ppt/theme/theme7.xml><?xml version="1.0" encoding="utf-8"?>
<a:theme xmlns:a="http://schemas.openxmlformats.org/drawingml/2006/main" name="1_Main templa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3BD80524-6037-4E14-90B9-C4D4F155586C}" vid="{8DB48C81-A273-4517-9325-AF7845DD7FD3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acc6a66-b542-43f0-badd-23106e4dbc77" xsi:nil="true"/>
    <lcf76f155ced4ddcb4097134ff3c332f xmlns="7108895b-886d-4b3e-82ed-74539e427214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FF5543696A6174589AAD11802AD7CB1" ma:contentTypeVersion="14" ma:contentTypeDescription="Create a new document." ma:contentTypeScope="" ma:versionID="ff25667fe2dc5e94edabe660d2867350">
  <xsd:schema xmlns:xsd="http://www.w3.org/2001/XMLSchema" xmlns:xs="http://www.w3.org/2001/XMLSchema" xmlns:p="http://schemas.microsoft.com/office/2006/metadata/properties" xmlns:ns2="7108895b-886d-4b3e-82ed-74539e427214" xmlns:ns3="9acc6a66-b542-43f0-badd-23106e4dbc77" targetNamespace="http://schemas.microsoft.com/office/2006/metadata/properties" ma:root="true" ma:fieldsID="73ae5ba0b540285aa0a7467aa2de7c93" ns2:_="" ns3:_="">
    <xsd:import namespace="7108895b-886d-4b3e-82ed-74539e427214"/>
    <xsd:import namespace="9acc6a66-b542-43f0-badd-23106e4dbc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08895b-886d-4b3e-82ed-74539e42721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bdc8654f-099b-4fbc-bac7-8913d318b51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acc6a66-b542-43f0-badd-23106e4dbc7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f1004ef3-3553-43d0-b9b3-5db151b4a75f}" ma:internalName="TaxCatchAll" ma:showField="CatchAllData" ma:web="9acc6a66-b542-43f0-badd-23106e4dbc7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6EAD078-793F-4468-B470-9B0B1683526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15E6C19-B08C-4E2A-940F-AC40BC78DAAD}">
  <ds:schemaRefs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7108895b-886d-4b3e-82ed-74539e427214"/>
    <ds:schemaRef ds:uri="http://schemas.microsoft.com/office/infopath/2007/PartnerControls"/>
    <ds:schemaRef ds:uri="9acc6a66-b542-43f0-badd-23106e4dbc77"/>
    <ds:schemaRef ds:uri="http://purl.org/dc/terms/"/>
    <ds:schemaRef ds:uri="http://www.w3.org/XML/1998/namespace"/>
    <ds:schemaRef ds:uri="http://schemas.microsoft.com/office/2006/metadata/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6648D17-8043-4BD1-9AE0-512E5B0053C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08895b-886d-4b3e-82ed-74539e427214"/>
    <ds:schemaRef ds:uri="9acc6a66-b542-43f0-badd-23106e4dbc7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U_Rail PPT</Template>
  <TotalTime>0</TotalTime>
  <Words>339</Words>
  <Application>Microsoft Macintosh PowerPoint</Application>
  <PresentationFormat>Breitbild</PresentationFormat>
  <Paragraphs>71</Paragraphs>
  <Slides>10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7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22" baseType="lpstr">
      <vt:lpstr>Arial</vt:lpstr>
      <vt:lpstr>Calibri</vt:lpstr>
      <vt:lpstr>Calibri Light</vt:lpstr>
      <vt:lpstr>Wingdings</vt:lpstr>
      <vt:lpstr>White title</vt:lpstr>
      <vt:lpstr>Blue title</vt:lpstr>
      <vt:lpstr>White</vt:lpstr>
      <vt:lpstr>Blue</vt:lpstr>
      <vt:lpstr>Benutzerdefiniertes Design</vt:lpstr>
      <vt:lpstr>Main template</vt:lpstr>
      <vt:lpstr>1_Main template</vt:lpstr>
      <vt:lpstr>think-cell Folie</vt:lpstr>
      <vt:lpstr>PowerPoint-Präsentation</vt:lpstr>
      <vt:lpstr>“Migration”</vt:lpstr>
      <vt:lpstr>Migration Target 1 (current discussion state)</vt:lpstr>
      <vt:lpstr>Migration Target 2 (current discussion state)</vt:lpstr>
      <vt:lpstr>Migration Target A (current discussion state)</vt:lpstr>
      <vt:lpstr>Voting</vt:lpstr>
      <vt:lpstr>Voting</vt:lpstr>
      <vt:lpstr>Voting: CCS trackside migration</vt:lpstr>
      <vt:lpstr>Voting: CCS onboard migration</vt:lpstr>
      <vt:lpstr>Voting: ATO GoA 3/4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TVINA Zanda (EU-RAIL)</dc:creator>
  <cp:lastModifiedBy>Schmidt Steffen (I-NAT-BST-AR-ERTM)</cp:lastModifiedBy>
  <cp:revision>16</cp:revision>
  <dcterms:created xsi:type="dcterms:W3CDTF">2022-05-31T12:26:01Z</dcterms:created>
  <dcterms:modified xsi:type="dcterms:W3CDTF">2024-04-23T22:00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F5543696A6174589AAD11802AD7CB1</vt:lpwstr>
  </property>
  <property fmtid="{D5CDD505-2E9C-101B-9397-08002B2CF9AE}" pid="3" name="MediaServiceImageTags">
    <vt:lpwstr/>
  </property>
  <property fmtid="{D5CDD505-2E9C-101B-9397-08002B2CF9AE}" pid="4" name="TmpVertraulichkeit">
    <vt:lpwstr/>
  </property>
  <property fmtid="{D5CDD505-2E9C-101B-9397-08002B2CF9AE}" pid="5" name="TmpStatus">
    <vt:lpwstr/>
  </property>
</Properties>
</file>